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8" r:id="rId2"/>
    <p:sldId id="310" r:id="rId3"/>
    <p:sldId id="297" r:id="rId4"/>
    <p:sldId id="301" r:id="rId5"/>
    <p:sldId id="312" r:id="rId6"/>
    <p:sldId id="303" r:id="rId7"/>
    <p:sldId id="287" r:id="rId8"/>
  </p:sldIdLst>
  <p:sldSz cx="12192000" cy="6858000"/>
  <p:notesSz cx="6669088" cy="987266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B6E853-2B54-41F0-8F9B-9267B41D648B}" v="4" dt="2025-11-27T10:29:46.2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95" autoAdjust="0"/>
    <p:restoredTop sz="44431" autoAdjust="0"/>
  </p:normalViewPr>
  <p:slideViewPr>
    <p:cSldViewPr snapToGrid="0">
      <p:cViewPr varScale="1">
        <p:scale>
          <a:sx n="41" d="100"/>
          <a:sy n="41" d="100"/>
        </p:scale>
        <p:origin x="3102"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xel Sonntag" userId="e543118cff811cdf" providerId="LiveId" clId="{CB2BC8D2-656B-474C-B51E-BE8CB20A4B55}"/>
    <pc:docChg chg="custSel modSld">
      <pc:chgData name="Axel Sonntag" userId="e543118cff811cdf" providerId="LiveId" clId="{CB2BC8D2-656B-474C-B51E-BE8CB20A4B55}" dt="2025-11-27T10:29:55.698" v="53" actId="113"/>
      <pc:docMkLst>
        <pc:docMk/>
      </pc:docMkLst>
      <pc:sldChg chg="modSp mod">
        <pc:chgData name="Axel Sonntag" userId="e543118cff811cdf" providerId="LiveId" clId="{CB2BC8D2-656B-474C-B51E-BE8CB20A4B55}" dt="2025-11-27T10:16:08.646" v="1"/>
        <pc:sldMkLst>
          <pc:docMk/>
          <pc:sldMk cId="2755634560" sldId="301"/>
        </pc:sldMkLst>
        <pc:graphicFrameChg chg="mod">
          <ac:chgData name="Axel Sonntag" userId="e543118cff811cdf" providerId="LiveId" clId="{CB2BC8D2-656B-474C-B51E-BE8CB20A4B55}" dt="2025-11-27T10:16:08.646" v="1"/>
          <ac:graphicFrameMkLst>
            <pc:docMk/>
            <pc:sldMk cId="2755634560" sldId="301"/>
            <ac:graphicFrameMk id="2" creationId="{37800E99-35C1-E84A-B66E-3E93553CEA97}"/>
          </ac:graphicFrameMkLst>
        </pc:graphicFrameChg>
      </pc:sldChg>
      <pc:sldChg chg="modNotesTx">
        <pc:chgData name="Axel Sonntag" userId="e543118cff811cdf" providerId="LiveId" clId="{CB2BC8D2-656B-474C-B51E-BE8CB20A4B55}" dt="2025-11-27T10:29:55.698" v="53" actId="113"/>
        <pc:sldMkLst>
          <pc:docMk/>
          <pc:sldMk cId="390908065"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777607" y="0"/>
            <a:ext cx="2889938" cy="495348"/>
          </a:xfrm>
          <a:prstGeom prst="rect">
            <a:avLst/>
          </a:prstGeom>
        </p:spPr>
        <p:txBody>
          <a:bodyPr vert="horz" lIns="91440" tIns="45720" rIns="91440" bIns="45720" rtlCol="0"/>
          <a:lstStyle>
            <a:lvl1pPr algn="r">
              <a:defRPr sz="1200"/>
            </a:lvl1pPr>
          </a:lstStyle>
          <a:p>
            <a:fld id="{F3556D5B-4D8C-4C56-8C84-DA08D2C35329}" type="datetimeFigureOut">
              <a:rPr lang="de-DE" smtClean="0"/>
              <a:t>27.11.2025</a:t>
            </a:fld>
            <a:endParaRPr lang="de-DE"/>
          </a:p>
        </p:txBody>
      </p:sp>
      <p:sp>
        <p:nvSpPr>
          <p:cNvPr id="4" name="Folienbildplatzhalter 3"/>
          <p:cNvSpPr>
            <a:spLocks noGrp="1" noRot="1" noChangeAspect="1"/>
          </p:cNvSpPr>
          <p:nvPr>
            <p:ph type="sldImg" idx="2"/>
          </p:nvPr>
        </p:nvSpPr>
        <p:spPr>
          <a:xfrm>
            <a:off x="373063" y="1233488"/>
            <a:ext cx="5922962" cy="33321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66909" y="4751219"/>
            <a:ext cx="5335270" cy="3887361"/>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7317"/>
            <a:ext cx="2889938" cy="49534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777607" y="9377317"/>
            <a:ext cx="2889938" cy="495347"/>
          </a:xfrm>
          <a:prstGeom prst="rect">
            <a:avLst/>
          </a:prstGeom>
        </p:spPr>
        <p:txBody>
          <a:bodyPr vert="horz" lIns="91440" tIns="45720" rIns="91440" bIns="45720" rtlCol="0" anchor="b"/>
          <a:lstStyle>
            <a:lvl1pPr algn="r">
              <a:defRPr sz="1200"/>
            </a:lvl1pPr>
          </a:lstStyle>
          <a:p>
            <a:fld id="{78615590-5753-43E7-914E-013077CFDD0F}" type="slidenum">
              <a:rPr lang="de-DE" smtClean="0"/>
              <a:t>‹#›</a:t>
            </a:fld>
            <a:endParaRPr lang="de-DE"/>
          </a:p>
        </p:txBody>
      </p:sp>
    </p:spTree>
    <p:extLst>
      <p:ext uri="{BB962C8B-B14F-4D97-AF65-F5344CB8AC3E}">
        <p14:creationId xmlns:p14="http://schemas.microsoft.com/office/powerpoint/2010/main" val="2534031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ilip to start with what is Behavioral Economics</a:t>
            </a:r>
          </a:p>
        </p:txBody>
      </p:sp>
      <p:sp>
        <p:nvSpPr>
          <p:cNvPr id="4" name="Slide Number Placeholder 3"/>
          <p:cNvSpPr>
            <a:spLocks noGrp="1"/>
          </p:cNvSpPr>
          <p:nvPr>
            <p:ph type="sldNum" sz="quarter" idx="5"/>
          </p:nvPr>
        </p:nvSpPr>
        <p:spPr/>
        <p:txBody>
          <a:bodyPr/>
          <a:lstStyle/>
          <a:p>
            <a:fld id="{6338A69D-9579-4B52-ACCD-2908D78DAAF5}" type="slidenum">
              <a:rPr lang="de-DE" smtClean="0"/>
              <a:t>1</a:t>
            </a:fld>
            <a:endParaRPr lang="de-DE"/>
          </a:p>
        </p:txBody>
      </p:sp>
    </p:spTree>
    <p:extLst>
      <p:ext uri="{BB962C8B-B14F-4D97-AF65-F5344CB8AC3E}">
        <p14:creationId xmlns:p14="http://schemas.microsoft.com/office/powerpoint/2010/main" val="1439168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effectLst/>
                <a:latin typeface="fkGroteskNeue"/>
              </a:rPr>
              <a:t>Bounded rationality: Our minds have limited information and processing power, so we use shortcuts and make errors instead of always acting logically.</a:t>
            </a:r>
          </a:p>
          <a:p>
            <a:pPr algn="l">
              <a:buFont typeface="Arial" panose="020B0604020202020204" pitchFamily="34" charset="0"/>
              <a:buNone/>
            </a:pPr>
            <a:r>
              <a:rPr lang="en-US" b="1" dirty="0"/>
              <a:t>Example: </a:t>
            </a:r>
            <a:r>
              <a:rPr lang="en-US" dirty="0"/>
              <a:t>You’re at the supermarket and need to buy pasta sauce. There are 20 different brands with varying prices, ingredients, and sizes. Instead of analyzing all options logically, you quickly pick the one you recognize from an ad.</a:t>
            </a:r>
            <a:br>
              <a:rPr lang="en-US" dirty="0"/>
            </a:br>
            <a:r>
              <a:rPr lang="en-US" b="1" dirty="0"/>
              <a:t>Why?</a:t>
            </a:r>
            <a:r>
              <a:rPr lang="en-US" dirty="0"/>
              <a:t> Because your brain has limited time and energy, so you use a shortcut (brand familiarity) rather than making the “perfect” choice.</a:t>
            </a:r>
          </a:p>
          <a:p>
            <a:pPr algn="l">
              <a:buFont typeface="Arial" panose="020B0604020202020204" pitchFamily="34" charset="0"/>
              <a:buChar char="•"/>
            </a:pPr>
            <a:endParaRPr lang="en-US" b="0" i="0" dirty="0">
              <a:effectLst/>
              <a:latin typeface="fkGroteskNeue"/>
            </a:endParaRPr>
          </a:p>
          <a:p>
            <a:pPr algn="l">
              <a:buFont typeface="Arial" panose="020B0604020202020204" pitchFamily="34" charset="0"/>
              <a:buChar char="•"/>
            </a:pPr>
            <a:endParaRPr lang="en-US" b="0" i="0" dirty="0">
              <a:effectLst/>
              <a:latin typeface="fkGroteskNeue"/>
            </a:endParaRPr>
          </a:p>
          <a:p>
            <a:pPr algn="l">
              <a:buFont typeface="Arial" panose="020B0604020202020204" pitchFamily="34" charset="0"/>
              <a:buChar char="•"/>
            </a:pPr>
            <a:r>
              <a:rPr lang="en-US" b="0" i="0" dirty="0">
                <a:effectLst/>
                <a:latin typeface="fkGroteskNeue"/>
              </a:rPr>
              <a:t>Bounded willpower: We sometimes act against our own long-term interests, struggling with self-control and giving in to short-term temptations.</a:t>
            </a:r>
          </a:p>
          <a:p>
            <a:pPr algn="l">
              <a:buFont typeface="Arial" panose="020B0604020202020204" pitchFamily="34" charset="0"/>
              <a:buNone/>
            </a:pPr>
            <a:r>
              <a:rPr lang="en-US" b="1" dirty="0"/>
              <a:t>Example: </a:t>
            </a:r>
            <a:r>
              <a:rPr lang="en-US" dirty="0"/>
              <a:t>You plan to save €200 from your paycheck for a vacation. But when you see a flash sale online, you buy a new gadget instead.</a:t>
            </a:r>
            <a:br>
              <a:rPr lang="en-US" dirty="0"/>
            </a:br>
            <a:r>
              <a:rPr lang="en-US" b="1" dirty="0"/>
              <a:t>Why?</a:t>
            </a:r>
            <a:r>
              <a:rPr lang="en-US" dirty="0"/>
              <a:t> Because the short-term temptation (instant gratification from the gadget) overrides your long-term goal (saving for the vacation).</a:t>
            </a:r>
            <a:endParaRPr lang="en-US" b="0" i="0" dirty="0">
              <a:effectLst/>
              <a:latin typeface="fkGroteskNeue"/>
            </a:endParaRPr>
          </a:p>
          <a:p>
            <a:pPr algn="l">
              <a:buFont typeface="Arial" panose="020B0604020202020204" pitchFamily="34" charset="0"/>
              <a:buChar char="•"/>
            </a:pPr>
            <a:endParaRPr lang="en-US" b="0" i="0" dirty="0">
              <a:effectLst/>
              <a:latin typeface="fkGroteskNeue"/>
            </a:endParaRPr>
          </a:p>
          <a:p>
            <a:pPr algn="l">
              <a:buFont typeface="Arial" panose="020B0604020202020204" pitchFamily="34" charset="0"/>
              <a:buChar char="•"/>
            </a:pPr>
            <a:endParaRPr lang="en-US" b="0" i="0" dirty="0">
              <a:effectLst/>
              <a:latin typeface="fkGroteskNeue"/>
            </a:endParaRPr>
          </a:p>
          <a:p>
            <a:pPr algn="l">
              <a:buFont typeface="Arial" panose="020B0604020202020204" pitchFamily="34" charset="0"/>
              <a:buChar char="•"/>
            </a:pPr>
            <a:r>
              <a:rPr lang="en-US" b="0" i="0" dirty="0">
                <a:effectLst/>
                <a:latin typeface="fkGroteskNeue"/>
              </a:rPr>
              <a:t>Bounded self-interest: People care about fairness and others’ well-being, not just their own gain.</a:t>
            </a:r>
          </a:p>
          <a:p>
            <a:pPr algn="l">
              <a:buFont typeface="Arial" panose="020B0604020202020204" pitchFamily="34" charset="0"/>
              <a:buNone/>
            </a:pPr>
            <a:r>
              <a:rPr lang="en-US" b="1" dirty="0"/>
              <a:t>Example: </a:t>
            </a:r>
            <a:r>
              <a:rPr lang="en-US" dirty="0"/>
              <a:t>You’re selling an old bike online. A buyer offers you your asking price, but you notice they seem like a student on a tight budget. You voluntarily lower the price a bit because you want to help them out, even though you could have earned more.</a:t>
            </a:r>
            <a:br>
              <a:rPr lang="en-US" dirty="0"/>
            </a:br>
            <a:r>
              <a:rPr lang="en-US" b="1" dirty="0"/>
              <a:t>Why?</a:t>
            </a:r>
            <a:r>
              <a:rPr lang="en-US" dirty="0"/>
              <a:t> You care about fairness and the other person’s situation, not just maximizing your own profit.</a:t>
            </a:r>
            <a:endParaRPr lang="en-US" b="0" i="0" dirty="0">
              <a:effectLst/>
              <a:latin typeface="fkGroteskNeue"/>
            </a:endParaRPr>
          </a:p>
        </p:txBody>
      </p:sp>
      <p:sp>
        <p:nvSpPr>
          <p:cNvPr id="4" name="Slide Number Placeholder 3"/>
          <p:cNvSpPr>
            <a:spLocks noGrp="1"/>
          </p:cNvSpPr>
          <p:nvPr>
            <p:ph type="sldNum" sz="quarter" idx="5"/>
          </p:nvPr>
        </p:nvSpPr>
        <p:spPr/>
        <p:txBody>
          <a:bodyPr/>
          <a:lstStyle/>
          <a:p>
            <a:fld id="{6338A69D-9579-4B52-ACCD-2908D78DAAF5}" type="slidenum">
              <a:rPr lang="de-DE" smtClean="0"/>
              <a:t>2</a:t>
            </a:fld>
            <a:endParaRPr lang="de-DE"/>
          </a:p>
        </p:txBody>
      </p:sp>
    </p:spTree>
    <p:extLst>
      <p:ext uri="{BB962C8B-B14F-4D97-AF65-F5344CB8AC3E}">
        <p14:creationId xmlns:p14="http://schemas.microsoft.com/office/powerpoint/2010/main" val="164983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in </a:t>
            </a:r>
            <a:r>
              <a:rPr lang="de-DE" dirty="0" err="1"/>
              <a:t>aim</a:t>
            </a:r>
            <a:r>
              <a:rPr lang="de-DE" dirty="0"/>
              <a:t> ist not </a:t>
            </a:r>
            <a:r>
              <a:rPr lang="de-DE" dirty="0" err="1"/>
              <a:t>measurable</a:t>
            </a:r>
            <a:r>
              <a:rPr lang="de-DE" dirty="0"/>
              <a:t> </a:t>
            </a:r>
          </a:p>
        </p:txBody>
      </p:sp>
      <p:sp>
        <p:nvSpPr>
          <p:cNvPr id="4" name="Foliennummernplatzhalter 3"/>
          <p:cNvSpPr>
            <a:spLocks noGrp="1"/>
          </p:cNvSpPr>
          <p:nvPr>
            <p:ph type="sldNum" sz="quarter" idx="5"/>
          </p:nvPr>
        </p:nvSpPr>
        <p:spPr/>
        <p:txBody>
          <a:bodyPr/>
          <a:lstStyle/>
          <a:p>
            <a:fld id="{78615590-5753-43E7-914E-013077CFDD0F}" type="slidenum">
              <a:rPr lang="de-DE" smtClean="0"/>
              <a:t>3</a:t>
            </a:fld>
            <a:endParaRPr lang="de-DE"/>
          </a:p>
        </p:txBody>
      </p:sp>
    </p:spTree>
    <p:extLst>
      <p:ext uri="{BB962C8B-B14F-4D97-AF65-F5344CB8AC3E}">
        <p14:creationId xmlns:p14="http://schemas.microsoft.com/office/powerpoint/2010/main" val="1248039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i </a:t>
            </a:r>
            <a:r>
              <a:rPr lang="de-DE" dirty="0" err="1"/>
              <a:t>squesion</a:t>
            </a:r>
            <a:r>
              <a:rPr lang="de-DE" dirty="0"/>
              <a:t> </a:t>
            </a:r>
            <a:r>
              <a:rPr lang="de-DE" dirty="0" err="1"/>
              <a:t>is</a:t>
            </a:r>
            <a:r>
              <a:rPr lang="de-DE" dirty="0"/>
              <a:t> </a:t>
            </a:r>
            <a:r>
              <a:rPr lang="de-DE" dirty="0" err="1"/>
              <a:t>answered</a:t>
            </a:r>
            <a:r>
              <a:rPr lang="de-DE" dirty="0"/>
              <a:t> </a:t>
            </a:r>
            <a:r>
              <a:rPr lang="de-DE" dirty="0" err="1"/>
              <a:t>by</a:t>
            </a:r>
            <a:r>
              <a:rPr lang="de-DE" dirty="0"/>
              <a:t> </a:t>
            </a:r>
            <a:r>
              <a:rPr lang="de-DE" dirty="0" err="1"/>
              <a:t>the</a:t>
            </a:r>
            <a:r>
              <a:rPr lang="de-DE" dirty="0"/>
              <a:t> </a:t>
            </a:r>
            <a:r>
              <a:rPr lang="de-DE" dirty="0" err="1"/>
              <a:t>survey</a:t>
            </a:r>
            <a:endParaRPr lang="de-DE" dirty="0"/>
          </a:p>
        </p:txBody>
      </p:sp>
      <p:sp>
        <p:nvSpPr>
          <p:cNvPr id="4" name="Foliennummernplatzhalter 3"/>
          <p:cNvSpPr>
            <a:spLocks noGrp="1"/>
          </p:cNvSpPr>
          <p:nvPr>
            <p:ph type="sldNum" sz="quarter" idx="5"/>
          </p:nvPr>
        </p:nvSpPr>
        <p:spPr/>
        <p:txBody>
          <a:bodyPr/>
          <a:lstStyle/>
          <a:p>
            <a:fld id="{78615590-5753-43E7-914E-013077CFDD0F}" type="slidenum">
              <a:rPr lang="de-DE" smtClean="0"/>
              <a:t>4</a:t>
            </a:fld>
            <a:endParaRPr lang="de-DE"/>
          </a:p>
        </p:txBody>
      </p:sp>
    </p:spTree>
    <p:extLst>
      <p:ext uri="{BB962C8B-B14F-4D97-AF65-F5344CB8AC3E}">
        <p14:creationId xmlns:p14="http://schemas.microsoft.com/office/powerpoint/2010/main" val="828674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54ECB-CAA5-B3B0-DEDD-65CD9BC07B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65936B-05B4-E407-1C0E-7FC15D24D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D0CB0C-D6C9-0623-E8D7-610DAA282BBB}"/>
              </a:ext>
            </a:extLst>
          </p:cNvPr>
          <p:cNvSpPr>
            <a:spLocks noGrp="1"/>
          </p:cNvSpPr>
          <p:nvPr>
            <p:ph type="body" idx="1"/>
          </p:nvPr>
        </p:nvSpPr>
        <p:spPr/>
        <p:txBody>
          <a:bodyPr/>
          <a:lstStyle/>
          <a:p>
            <a:r>
              <a:rPr lang="en-US" dirty="0"/>
              <a:t>Can be skipped – the 4 dimensions that we evaluate – reflected in the questions  </a:t>
            </a:r>
          </a:p>
        </p:txBody>
      </p:sp>
      <p:sp>
        <p:nvSpPr>
          <p:cNvPr id="4" name="Slide Number Placeholder 3">
            <a:extLst>
              <a:ext uri="{FF2B5EF4-FFF2-40B4-BE49-F238E27FC236}">
                <a16:creationId xmlns:a16="http://schemas.microsoft.com/office/drawing/2014/main" id="{BF036ED2-6945-E545-06D5-9146E7AFD7A3}"/>
              </a:ext>
            </a:extLst>
          </p:cNvPr>
          <p:cNvSpPr>
            <a:spLocks noGrp="1"/>
          </p:cNvSpPr>
          <p:nvPr>
            <p:ph type="sldNum" sz="quarter" idx="5"/>
          </p:nvPr>
        </p:nvSpPr>
        <p:spPr/>
        <p:txBody>
          <a:bodyPr/>
          <a:lstStyle/>
          <a:p>
            <a:fld id="{6338A69D-9579-4B52-ACCD-2908D78DAAF5}" type="slidenum">
              <a:rPr lang="de-DE" smtClean="0"/>
              <a:t>5</a:t>
            </a:fld>
            <a:endParaRPr lang="de-DE"/>
          </a:p>
        </p:txBody>
      </p:sp>
    </p:spTree>
    <p:extLst>
      <p:ext uri="{BB962C8B-B14F-4D97-AF65-F5344CB8AC3E}">
        <p14:creationId xmlns:p14="http://schemas.microsoft.com/office/powerpoint/2010/main" val="877499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7A86D-F323-6C89-8161-FB04ADC881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2E7B97-C117-C18D-7F2E-0B99C3075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4AB025-22CA-6E96-0498-0536647C5DE4}"/>
              </a:ext>
            </a:extLst>
          </p:cNvPr>
          <p:cNvSpPr>
            <a:spLocks noGrp="1"/>
          </p:cNvSpPr>
          <p:nvPr>
            <p:ph type="body" idx="1"/>
          </p:nvPr>
        </p:nvSpPr>
        <p:spPr/>
        <p:txBody>
          <a:bodyPr/>
          <a:lstStyle/>
          <a:p>
            <a:r>
              <a:rPr lang="en-US" dirty="0"/>
              <a:t>Philip to take over to talk about the upcoming workshop</a:t>
            </a:r>
          </a:p>
        </p:txBody>
      </p:sp>
      <p:sp>
        <p:nvSpPr>
          <p:cNvPr id="4" name="Slide Number Placeholder 3">
            <a:extLst>
              <a:ext uri="{FF2B5EF4-FFF2-40B4-BE49-F238E27FC236}">
                <a16:creationId xmlns:a16="http://schemas.microsoft.com/office/drawing/2014/main" id="{AC260A5A-93D7-E293-5E89-EF8CB437314B}"/>
              </a:ext>
            </a:extLst>
          </p:cNvPr>
          <p:cNvSpPr>
            <a:spLocks noGrp="1"/>
          </p:cNvSpPr>
          <p:nvPr>
            <p:ph type="sldNum" sz="quarter" idx="5"/>
          </p:nvPr>
        </p:nvSpPr>
        <p:spPr/>
        <p:txBody>
          <a:bodyPr/>
          <a:lstStyle/>
          <a:p>
            <a:fld id="{6338A69D-9579-4B52-ACCD-2908D78DAAF5}" type="slidenum">
              <a:rPr lang="de-DE" smtClean="0"/>
              <a:t>6</a:t>
            </a:fld>
            <a:endParaRPr lang="de-DE"/>
          </a:p>
        </p:txBody>
      </p:sp>
    </p:spTree>
    <p:extLst>
      <p:ext uri="{BB962C8B-B14F-4D97-AF65-F5344CB8AC3E}">
        <p14:creationId xmlns:p14="http://schemas.microsoft.com/office/powerpoint/2010/main" val="209939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8615590-5753-43E7-914E-013077CFDD0F}" type="slidenum">
              <a:rPr lang="de-DE" smtClean="0"/>
              <a:t>7</a:t>
            </a:fld>
            <a:endParaRPr lang="de-DE"/>
          </a:p>
        </p:txBody>
      </p:sp>
    </p:spTree>
    <p:extLst>
      <p:ext uri="{BB962C8B-B14F-4D97-AF65-F5344CB8AC3E}">
        <p14:creationId xmlns:p14="http://schemas.microsoft.com/office/powerpoint/2010/main" val="2884928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C10952-7CB6-4F55-07D9-5005F171705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E06027E-1AA3-AA59-DDB3-E34FB6D7B9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F6E7A942-DB35-EE92-0539-5298C07EE310}"/>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F75A06CB-A0A8-0C6F-676B-EEB8B351343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2FADE49-B710-30E1-D143-0CF1EEA75067}"/>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2754390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928DDF-55D8-F4E2-154D-889B46893A36}"/>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48C3527E-90C9-F00F-A0EC-0F1B7521734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9CBF79A-5845-9850-C7FB-319A20F64ABE}"/>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E9BEB901-5C1F-F2A0-D60C-7BDF0871225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611556A-0F31-329D-5065-9989376C95F0}"/>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125270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08C91B09-D738-AACD-D309-F034573C1C99}"/>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9F00FC7D-F0CB-5C70-FCB5-5E434B9C2A54}"/>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F0FCDCF-30C4-69A3-75FD-A7F5D6A1EF49}"/>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8D46E0F3-DB4F-F4D0-728B-958E1170C2D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A93DDF0-CC13-BF14-058B-5D151588ABD5}"/>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3096356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2" b="0" i="0">
                <a:solidFill>
                  <a:srgbClr val="7A7C81"/>
                </a:solidFill>
                <a:latin typeface="Arial"/>
                <a:cs typeface="Arial"/>
              </a:defRPr>
            </a:lvl1pPr>
          </a:lstStyle>
          <a:p>
            <a:endParaRPr lang="en-US" dirty="0"/>
          </a:p>
        </p:txBody>
      </p:sp>
      <p:sp>
        <p:nvSpPr>
          <p:cNvPr id="3" name="Holder 3"/>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lang="en-US"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r>
              <a:rPr lang="en-US"/>
              <a:t>24 January 2025</a:t>
            </a:r>
          </a:p>
        </p:txBody>
      </p:sp>
      <p:sp>
        <p:nvSpPr>
          <p:cNvPr id="5" name="Holder 5"/>
          <p:cNvSpPr>
            <a:spLocks noGrp="1"/>
          </p:cNvSpPr>
          <p:nvPr>
            <p:ph type="sldNum" sz="quarter" idx="7"/>
          </p:nvPr>
        </p:nvSpPr>
        <p:spPr>
          <a:xfrm>
            <a:off x="1024645" y="6460141"/>
            <a:ext cx="181378" cy="132484"/>
          </a:xfrm>
        </p:spPr>
        <p:txBody>
          <a:bodyPr lIns="0" tIns="0" rIns="0" bIns="0"/>
          <a:lstStyle>
            <a:lvl1pPr>
              <a:defRPr sz="774" b="0" i="0">
                <a:solidFill>
                  <a:srgbClr val="A78A4C"/>
                </a:solidFill>
                <a:latin typeface="HelveticaNeue-Light"/>
                <a:cs typeface="HelveticaNeue-Light"/>
              </a:defRPr>
            </a:lvl1pPr>
          </a:lstStyle>
          <a:p>
            <a:pPr marL="20330">
              <a:spcBef>
                <a:spcPts val="45"/>
              </a:spcBef>
            </a:pPr>
            <a:fld id="{81D60167-4931-47E6-BA6A-407CBD079E47}" type="slidenum">
              <a:rPr lang="en-US" spc="8" smtClean="0"/>
              <a:pPr marL="20330">
                <a:spcBef>
                  <a:spcPts val="45"/>
                </a:spcBef>
              </a:pPr>
              <a:t>‹#›</a:t>
            </a:fld>
            <a:endParaRPr lang="en-US" spc="8" dirty="0"/>
          </a:p>
        </p:txBody>
      </p:sp>
    </p:spTree>
    <p:extLst>
      <p:ext uri="{BB962C8B-B14F-4D97-AF65-F5344CB8AC3E}">
        <p14:creationId xmlns:p14="http://schemas.microsoft.com/office/powerpoint/2010/main" val="495183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lang="en-US"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24 January 2025</a:t>
            </a:r>
          </a:p>
        </p:txBody>
      </p:sp>
      <p:sp>
        <p:nvSpPr>
          <p:cNvPr id="4" name="Holder 4"/>
          <p:cNvSpPr>
            <a:spLocks noGrp="1"/>
          </p:cNvSpPr>
          <p:nvPr>
            <p:ph type="sldNum" sz="quarter" idx="7"/>
          </p:nvPr>
        </p:nvSpPr>
        <p:spPr>
          <a:xfrm>
            <a:off x="1024645" y="6460141"/>
            <a:ext cx="181378" cy="132484"/>
          </a:xfrm>
        </p:spPr>
        <p:txBody>
          <a:bodyPr lIns="0" tIns="0" rIns="0" bIns="0"/>
          <a:lstStyle>
            <a:lvl1pPr>
              <a:defRPr sz="774" b="0" i="0">
                <a:solidFill>
                  <a:srgbClr val="A78A4C"/>
                </a:solidFill>
                <a:latin typeface="HelveticaNeue-Light"/>
                <a:cs typeface="HelveticaNeue-Light"/>
              </a:defRPr>
            </a:lvl1pPr>
          </a:lstStyle>
          <a:p>
            <a:pPr marL="20330">
              <a:spcBef>
                <a:spcPts val="45"/>
              </a:spcBef>
            </a:pPr>
            <a:fld id="{81D60167-4931-47E6-BA6A-407CBD079E47}" type="slidenum">
              <a:rPr lang="en-US" spc="8" smtClean="0"/>
              <a:pPr marL="20330">
                <a:spcBef>
                  <a:spcPts val="45"/>
                </a:spcBef>
              </a:pPr>
              <a:t>‹#›</a:t>
            </a:fld>
            <a:endParaRPr lang="en-US" spc="8" dirty="0"/>
          </a:p>
        </p:txBody>
      </p:sp>
    </p:spTree>
    <p:extLst>
      <p:ext uri="{BB962C8B-B14F-4D97-AF65-F5344CB8AC3E}">
        <p14:creationId xmlns:p14="http://schemas.microsoft.com/office/powerpoint/2010/main" val="1965130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78023D-7D39-A07E-5ECA-599B4752AEE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E2C8822-87A7-3AC8-9A65-8F649AC198B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E6FDD55-F7C1-FF9B-B688-4D069498F5ED}"/>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F8AC5854-A981-DA07-8C0E-AC5E3ACA865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0E86A44-58E0-8139-05C5-DD162849F3AB}"/>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21851706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D6CCCC-9984-E8CA-0A19-C27DF52B47E4}"/>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5092F196-71FC-FAFC-452C-7997A5754D4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DA264271-DB14-2A4D-5133-F85398E33425}"/>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6F0B0D0C-B9B3-451E-50E7-137A5945406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CFB6C6C-7A36-3C48-6596-4E325ABA0F5F}"/>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38402833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EFE82F-E1AB-453C-DC9B-A7B6D57573B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AEEE93B-47F0-702C-4D4A-F8F25FFC82B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27E319F-9CBC-70B0-F305-A30CE5F23B00}"/>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14693C65-CF2F-FA42-967D-53C5F75EEFCE}"/>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6" name="Fußzeilenplatzhalter 5">
            <a:extLst>
              <a:ext uri="{FF2B5EF4-FFF2-40B4-BE49-F238E27FC236}">
                <a16:creationId xmlns:a16="http://schemas.microsoft.com/office/drawing/2014/main" id="{70A5BCC9-A542-D2C5-B349-131BC21F6FF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52AEBD0-2771-16ED-5F06-DE854B5656FE}"/>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1936317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734A4-D534-90BB-9A07-1D6569B57C6E}"/>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3DB58384-0E53-026F-20F0-7DF612F23F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EBCF304-316F-E498-6296-B153009021A2}"/>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40285AA-FFD5-78E2-B9D3-7C3BDF3300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D311CE5A-0FA5-F58E-87A5-F1797C2D87B0}"/>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4A13718D-117B-2266-3CA4-475807018B20}"/>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8" name="Fußzeilenplatzhalter 7">
            <a:extLst>
              <a:ext uri="{FF2B5EF4-FFF2-40B4-BE49-F238E27FC236}">
                <a16:creationId xmlns:a16="http://schemas.microsoft.com/office/drawing/2014/main" id="{A20EB561-9A41-AD77-C5F1-9CD083C47817}"/>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90F6AD7-3104-9305-4C38-17E024ECA9D7}"/>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2561178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851600-AA98-419A-DA6C-8DFB56D5F8A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C332F29D-31E0-74E6-0387-DC07D302B4BE}"/>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4" name="Fußzeilenplatzhalter 3">
            <a:extLst>
              <a:ext uri="{FF2B5EF4-FFF2-40B4-BE49-F238E27FC236}">
                <a16:creationId xmlns:a16="http://schemas.microsoft.com/office/drawing/2014/main" id="{FC36711F-BDC3-DDA8-B78A-F6732507528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516CC667-0D8C-027B-77BF-CDA162D6AAE8}"/>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1641630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245D735-8FA3-20ED-A1C5-01E760EF7DEC}"/>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3" name="Fußzeilenplatzhalter 2">
            <a:extLst>
              <a:ext uri="{FF2B5EF4-FFF2-40B4-BE49-F238E27FC236}">
                <a16:creationId xmlns:a16="http://schemas.microsoft.com/office/drawing/2014/main" id="{202345B5-1C46-B7EF-9C18-298A2FD7DD6C}"/>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1C33EF70-F596-A85D-A5A5-52C4785165C8}"/>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39130867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542C6-5BD5-98EE-8CEC-8F966675A5F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ED04E1B8-0AD9-78B0-37D0-99930C371A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415F05EA-74F7-685B-707B-9BE59F6EE1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ACF6397-30A9-EFE2-3B75-8E1EC2D164BD}"/>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6" name="Fußzeilenplatzhalter 5">
            <a:extLst>
              <a:ext uri="{FF2B5EF4-FFF2-40B4-BE49-F238E27FC236}">
                <a16:creationId xmlns:a16="http://schemas.microsoft.com/office/drawing/2014/main" id="{73724D34-3E41-8CD6-1638-C1ED68B3DF2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F47DE3F-83DF-8D31-DD32-6F6318825F85}"/>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482805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A633B3-61ED-1134-EA62-4731F0DEF503}"/>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FBF3BD2-B0E2-AA5A-C9BC-0CFC863F1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B4C13DD-0886-95CC-4915-A6A58BAA5B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D79BCB0-26BC-56A4-E518-D3214DEB310E}"/>
              </a:ext>
            </a:extLst>
          </p:cNvPr>
          <p:cNvSpPr>
            <a:spLocks noGrp="1"/>
          </p:cNvSpPr>
          <p:nvPr>
            <p:ph type="dt" sz="half" idx="10"/>
          </p:nvPr>
        </p:nvSpPr>
        <p:spPr/>
        <p:txBody>
          <a:bodyPr/>
          <a:lstStyle/>
          <a:p>
            <a:fld id="{E0258DFF-D970-4489-BCCA-9FA05DE4C898}" type="datetimeFigureOut">
              <a:rPr lang="de-DE" smtClean="0"/>
              <a:t>27.11.2025</a:t>
            </a:fld>
            <a:endParaRPr lang="de-DE"/>
          </a:p>
        </p:txBody>
      </p:sp>
      <p:sp>
        <p:nvSpPr>
          <p:cNvPr id="6" name="Fußzeilenplatzhalter 5">
            <a:extLst>
              <a:ext uri="{FF2B5EF4-FFF2-40B4-BE49-F238E27FC236}">
                <a16:creationId xmlns:a16="http://schemas.microsoft.com/office/drawing/2014/main" id="{20D126AC-96CC-FE80-0D06-31DC89BAFB8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DE792F6-1E5E-8B41-5D62-14CFFFF510FD}"/>
              </a:ext>
            </a:extLst>
          </p:cNvPr>
          <p:cNvSpPr>
            <a:spLocks noGrp="1"/>
          </p:cNvSpPr>
          <p:nvPr>
            <p:ph type="sldNum" sz="quarter" idx="12"/>
          </p:nvPr>
        </p:nvSpPr>
        <p:spPr/>
        <p:txBody>
          <a:bodyPr/>
          <a:lstStyle/>
          <a:p>
            <a:fld id="{05570410-A4FA-4685-B1BF-D8AAF1DEE1FC}" type="slidenum">
              <a:rPr lang="de-DE" smtClean="0"/>
              <a:t>‹#›</a:t>
            </a:fld>
            <a:endParaRPr lang="de-DE"/>
          </a:p>
        </p:txBody>
      </p:sp>
    </p:spTree>
    <p:extLst>
      <p:ext uri="{BB962C8B-B14F-4D97-AF65-F5344CB8AC3E}">
        <p14:creationId xmlns:p14="http://schemas.microsoft.com/office/powerpoint/2010/main" val="15966879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A07C9E-B7FB-A12E-DA81-FC8C08E7197C}"/>
              </a:ext>
            </a:extLst>
          </p:cNvPr>
          <p:cNvGraphicFramePr>
            <a:graphicFrameLocks noChangeAspect="1"/>
          </p:cNvGraphicFramePr>
          <p:nvPr userDrawn="1">
            <p:custDataLst>
              <p:tags r:id="rId15"/>
            </p:custDataLst>
            <p:extLst>
              <p:ext uri="{D42A27DB-BD31-4B8C-83A1-F6EECF244321}">
                <p14:modId xmlns:p14="http://schemas.microsoft.com/office/powerpoint/2010/main" val="199475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31" imgH="605" progId="TCLayout.ActiveDocument.1">
                  <p:embed/>
                </p:oleObj>
              </mc:Choice>
              <mc:Fallback>
                <p:oleObj name="think-cell Slide" r:id="rId16" imgW="631" imgH="605" progId="TCLayout.ActiveDocument.1">
                  <p:embed/>
                  <p:pic>
                    <p:nvPicPr>
                      <p:cNvPr id="8" name="think-cell data - do not delete" hidden="1">
                        <a:extLst>
                          <a:ext uri="{FF2B5EF4-FFF2-40B4-BE49-F238E27FC236}">
                            <a16:creationId xmlns:a16="http://schemas.microsoft.com/office/drawing/2014/main" id="{6AA07C9E-B7FB-A12E-DA81-FC8C08E7197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33205AB-55B2-CA8D-FC20-24D35C3918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E126ED6-A37C-DA3E-8327-FA85EE85F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5715D4B-5479-9521-E7E4-1CE0F3BCFB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0258DFF-D970-4489-BCCA-9FA05DE4C898}" type="datetimeFigureOut">
              <a:rPr lang="de-DE" smtClean="0"/>
              <a:t>27.11.2025</a:t>
            </a:fld>
            <a:endParaRPr lang="de-DE"/>
          </a:p>
        </p:txBody>
      </p:sp>
      <p:sp>
        <p:nvSpPr>
          <p:cNvPr id="5" name="Fußzeilenplatzhalter 4">
            <a:extLst>
              <a:ext uri="{FF2B5EF4-FFF2-40B4-BE49-F238E27FC236}">
                <a16:creationId xmlns:a16="http://schemas.microsoft.com/office/drawing/2014/main" id="{23DA08BA-0F17-4A19-ADAD-5AAE33B1B4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8E5F20F6-026D-977E-E32D-F4BF247FB9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5570410-A4FA-4685-B1BF-D8AAF1DEE1FC}" type="slidenum">
              <a:rPr lang="de-DE" smtClean="0"/>
              <a:t>‹#›</a:t>
            </a:fld>
            <a:endParaRPr lang="de-DE"/>
          </a:p>
        </p:txBody>
      </p:sp>
    </p:spTree>
    <p:extLst>
      <p:ext uri="{BB962C8B-B14F-4D97-AF65-F5344CB8AC3E}">
        <p14:creationId xmlns:p14="http://schemas.microsoft.com/office/powerpoint/2010/main" val="32311498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notesSlide" Target="../notesSlides/notesSlide3.xml"/><Relationship Id="rId16"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slideLayout" Target="../slideLayouts/slideLayout2.xml"/><Relationship Id="rId16" Type="http://schemas.openxmlformats.org/officeDocument/2006/relationships/image" Target="../media/image13.png"/><Relationship Id="rId1" Type="http://schemas.openxmlformats.org/officeDocument/2006/relationships/tags" Target="../tags/tag3.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8.emf"/><Relationship Id="rId15" Type="http://schemas.openxmlformats.org/officeDocument/2006/relationships/image" Target="../media/image12.png"/><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 Id="rId1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42" Type="http://schemas.openxmlformats.org/officeDocument/2006/relationships/tags" Target="../tags/tag45.xml"/><Relationship Id="rId47" Type="http://schemas.openxmlformats.org/officeDocument/2006/relationships/tags" Target="../tags/tag50.xml"/><Relationship Id="rId63" Type="http://schemas.openxmlformats.org/officeDocument/2006/relationships/tags" Target="../tags/tag66.xml"/><Relationship Id="rId68" Type="http://schemas.openxmlformats.org/officeDocument/2006/relationships/tags" Target="../tags/tag71.xml"/><Relationship Id="rId84" Type="http://schemas.openxmlformats.org/officeDocument/2006/relationships/tags" Target="../tags/tag87.xml"/><Relationship Id="rId89" Type="http://schemas.openxmlformats.org/officeDocument/2006/relationships/image" Target="../media/image3.png"/><Relationship Id="rId16" Type="http://schemas.openxmlformats.org/officeDocument/2006/relationships/tags" Target="../tags/tag19.xml"/><Relationship Id="rId11" Type="http://schemas.openxmlformats.org/officeDocument/2006/relationships/tags" Target="../tags/tag14.xml"/><Relationship Id="rId32" Type="http://schemas.openxmlformats.org/officeDocument/2006/relationships/tags" Target="../tags/tag35.xml"/><Relationship Id="rId37" Type="http://schemas.openxmlformats.org/officeDocument/2006/relationships/tags" Target="../tags/tag40.xml"/><Relationship Id="rId53" Type="http://schemas.openxmlformats.org/officeDocument/2006/relationships/tags" Target="../tags/tag56.xml"/><Relationship Id="rId58" Type="http://schemas.openxmlformats.org/officeDocument/2006/relationships/tags" Target="../tags/tag61.xml"/><Relationship Id="rId74" Type="http://schemas.openxmlformats.org/officeDocument/2006/relationships/tags" Target="../tags/tag77.xml"/><Relationship Id="rId79" Type="http://schemas.openxmlformats.org/officeDocument/2006/relationships/tags" Target="../tags/tag82.xml"/><Relationship Id="rId5" Type="http://schemas.openxmlformats.org/officeDocument/2006/relationships/tags" Target="../tags/tag8.xml"/><Relationship Id="rId90" Type="http://schemas.openxmlformats.org/officeDocument/2006/relationships/image" Target="../media/image4.png"/><Relationship Id="rId95" Type="http://schemas.openxmlformats.org/officeDocument/2006/relationships/image" Target="../media/image9.png"/><Relationship Id="rId22" Type="http://schemas.openxmlformats.org/officeDocument/2006/relationships/tags" Target="../tags/tag25.xml"/><Relationship Id="rId27" Type="http://schemas.openxmlformats.org/officeDocument/2006/relationships/tags" Target="../tags/tag30.xml"/><Relationship Id="rId43" Type="http://schemas.openxmlformats.org/officeDocument/2006/relationships/tags" Target="../tags/tag46.xml"/><Relationship Id="rId48" Type="http://schemas.openxmlformats.org/officeDocument/2006/relationships/tags" Target="../tags/tag51.xml"/><Relationship Id="rId64" Type="http://schemas.openxmlformats.org/officeDocument/2006/relationships/tags" Target="../tags/tag67.xml"/><Relationship Id="rId69" Type="http://schemas.openxmlformats.org/officeDocument/2006/relationships/tags" Target="../tags/tag72.xml"/><Relationship Id="rId80" Type="http://schemas.openxmlformats.org/officeDocument/2006/relationships/tags" Target="../tags/tag83.xml"/><Relationship Id="rId85" Type="http://schemas.openxmlformats.org/officeDocument/2006/relationships/slideLayout" Target="../slideLayouts/slideLayout2.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tags" Target="../tags/tag70.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tags" Target="../tags/tag73.xml"/><Relationship Id="rId75" Type="http://schemas.openxmlformats.org/officeDocument/2006/relationships/tags" Target="../tags/tag78.xml"/><Relationship Id="rId83" Type="http://schemas.openxmlformats.org/officeDocument/2006/relationships/tags" Target="../tags/tag86.xml"/><Relationship Id="rId88" Type="http://schemas.openxmlformats.org/officeDocument/2006/relationships/image" Target="../media/image2.emf"/><Relationship Id="rId91" Type="http://schemas.openxmlformats.org/officeDocument/2006/relationships/image" Target="../media/image5.png"/><Relationship Id="rId96" Type="http://schemas.openxmlformats.org/officeDocument/2006/relationships/image" Target="../media/image10.png"/><Relationship Id="rId1" Type="http://schemas.openxmlformats.org/officeDocument/2006/relationships/tags" Target="../tags/tag4.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tags" Target="../tags/tag76.xml"/><Relationship Id="rId78" Type="http://schemas.openxmlformats.org/officeDocument/2006/relationships/tags" Target="../tags/tag81.xml"/><Relationship Id="rId81" Type="http://schemas.openxmlformats.org/officeDocument/2006/relationships/tags" Target="../tags/tag84.xml"/><Relationship Id="rId86" Type="http://schemas.openxmlformats.org/officeDocument/2006/relationships/notesSlide" Target="../notesSlides/notesSlide6.xml"/><Relationship Id="rId94" Type="http://schemas.openxmlformats.org/officeDocument/2006/relationships/image" Target="../media/image8.png"/><Relationship Id="rId99" Type="http://schemas.openxmlformats.org/officeDocument/2006/relationships/image" Target="../media/image13.png"/><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image" Target="../media/image11.png"/><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image" Target="../media/image6.png"/><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oleObject" Target="../embeddings/oleObject4.bin"/><Relationship Id="rId61" Type="http://schemas.openxmlformats.org/officeDocument/2006/relationships/tags" Target="../tags/tag64.xml"/><Relationship Id="rId82" Type="http://schemas.openxmlformats.org/officeDocument/2006/relationships/tags" Target="../tags/tag85.xml"/><Relationship Id="rId19" Type="http://schemas.openxmlformats.org/officeDocument/2006/relationships/tags" Target="../tags/tag22.xml"/><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image" Target="../media/image19.png"/><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image" Target="../media/image7.png"/><Relationship Id="rId98"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AEF303-5D5A-F7DE-1CFB-AE6F8DC3DF70}"/>
              </a:ext>
            </a:extLst>
          </p:cNvPr>
          <p:cNvGraphicFramePr>
            <a:graphicFrameLocks noChangeAspect="1"/>
          </p:cNvGraphicFramePr>
          <p:nvPr>
            <p:custDataLst>
              <p:tags r:id="rId1"/>
            </p:custDataLst>
            <p:extLst>
              <p:ext uri="{D42A27DB-BD31-4B8C-83A1-F6EECF244321}">
                <p14:modId xmlns:p14="http://schemas.microsoft.com/office/powerpoint/2010/main" val="1294709313"/>
              </p:ext>
            </p:extLst>
          </p:nvPr>
        </p:nvGraphicFramePr>
        <p:xfrm>
          <a:off x="733105" y="848"/>
          <a:ext cx="847" cy="84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26AEF303-5D5A-F7DE-1CFB-AE6F8DC3DF70}"/>
                          </a:ext>
                        </a:extLst>
                      </p:cNvPr>
                      <p:cNvPicPr/>
                      <p:nvPr/>
                    </p:nvPicPr>
                    <p:blipFill>
                      <a:blip r:embed="rId5"/>
                      <a:stretch>
                        <a:fillRect/>
                      </a:stretch>
                    </p:blipFill>
                    <p:spPr>
                      <a:xfrm>
                        <a:off x="733105" y="848"/>
                        <a:ext cx="847" cy="847"/>
                      </a:xfrm>
                      <a:prstGeom prst="rect">
                        <a:avLst/>
                      </a:prstGeom>
                    </p:spPr>
                  </p:pic>
                </p:oleObj>
              </mc:Fallback>
            </mc:AlternateContent>
          </a:graphicData>
        </a:graphic>
      </p:graphicFrame>
      <p:grpSp>
        <p:nvGrpSpPr>
          <p:cNvPr id="2" name="object 2"/>
          <p:cNvGrpSpPr/>
          <p:nvPr/>
        </p:nvGrpSpPr>
        <p:grpSpPr>
          <a:xfrm>
            <a:off x="1095428" y="0"/>
            <a:ext cx="10364593" cy="6492398"/>
            <a:chOff x="680607" y="0"/>
            <a:chExt cx="19424015" cy="12167235"/>
          </a:xfrm>
        </p:grpSpPr>
        <p:sp>
          <p:nvSpPr>
            <p:cNvPr id="3" name="object 3"/>
            <p:cNvSpPr/>
            <p:nvPr/>
          </p:nvSpPr>
          <p:spPr>
            <a:xfrm>
              <a:off x="680607" y="680607"/>
              <a:ext cx="18743295" cy="11487150"/>
            </a:xfrm>
            <a:custGeom>
              <a:avLst/>
              <a:gdLst/>
              <a:ahLst/>
              <a:cxnLst/>
              <a:rect l="l" t="t" r="r" b="b"/>
              <a:pathLst>
                <a:path w="18743295" h="11487150">
                  <a:moveTo>
                    <a:pt x="18742884" y="0"/>
                  </a:moveTo>
                  <a:lnTo>
                    <a:pt x="0" y="0"/>
                  </a:lnTo>
                  <a:lnTo>
                    <a:pt x="0" y="11486561"/>
                  </a:lnTo>
                  <a:lnTo>
                    <a:pt x="15769153" y="11486561"/>
                  </a:lnTo>
                  <a:lnTo>
                    <a:pt x="15817367" y="11486178"/>
                  </a:lnTo>
                  <a:lnTo>
                    <a:pt x="15865395" y="11485033"/>
                  </a:lnTo>
                  <a:lnTo>
                    <a:pt x="15913233" y="11483132"/>
                  </a:lnTo>
                  <a:lnTo>
                    <a:pt x="15960874" y="11480480"/>
                  </a:lnTo>
                  <a:lnTo>
                    <a:pt x="16008313" y="11477083"/>
                  </a:lnTo>
                  <a:lnTo>
                    <a:pt x="16055543" y="11472948"/>
                  </a:lnTo>
                  <a:lnTo>
                    <a:pt x="16102560" y="11468079"/>
                  </a:lnTo>
                  <a:lnTo>
                    <a:pt x="16149357" y="11462483"/>
                  </a:lnTo>
                  <a:lnTo>
                    <a:pt x="16195928" y="11456165"/>
                  </a:lnTo>
                  <a:lnTo>
                    <a:pt x="16242268" y="11449132"/>
                  </a:lnTo>
                  <a:lnTo>
                    <a:pt x="16288371" y="11441388"/>
                  </a:lnTo>
                  <a:lnTo>
                    <a:pt x="16334231" y="11432940"/>
                  </a:lnTo>
                  <a:lnTo>
                    <a:pt x="16379843" y="11423793"/>
                  </a:lnTo>
                  <a:lnTo>
                    <a:pt x="16425201" y="11413954"/>
                  </a:lnTo>
                  <a:lnTo>
                    <a:pt x="16470298" y="11403427"/>
                  </a:lnTo>
                  <a:lnTo>
                    <a:pt x="16515129" y="11392220"/>
                  </a:lnTo>
                  <a:lnTo>
                    <a:pt x="16559689" y="11380336"/>
                  </a:lnTo>
                  <a:lnTo>
                    <a:pt x="16603971" y="11367783"/>
                  </a:lnTo>
                  <a:lnTo>
                    <a:pt x="16647970" y="11354566"/>
                  </a:lnTo>
                  <a:lnTo>
                    <a:pt x="16691681" y="11340691"/>
                  </a:lnTo>
                  <a:lnTo>
                    <a:pt x="16735096" y="11326164"/>
                  </a:lnTo>
                  <a:lnTo>
                    <a:pt x="16778211" y="11310989"/>
                  </a:lnTo>
                  <a:lnTo>
                    <a:pt x="16821020" y="11295174"/>
                  </a:lnTo>
                  <a:lnTo>
                    <a:pt x="16863517" y="11278724"/>
                  </a:lnTo>
                  <a:lnTo>
                    <a:pt x="16905695" y="11261644"/>
                  </a:lnTo>
                  <a:lnTo>
                    <a:pt x="16947551" y="11243941"/>
                  </a:lnTo>
                  <a:lnTo>
                    <a:pt x="16989077" y="11225620"/>
                  </a:lnTo>
                  <a:lnTo>
                    <a:pt x="17030268" y="11206687"/>
                  </a:lnTo>
                  <a:lnTo>
                    <a:pt x="17071118" y="11187148"/>
                  </a:lnTo>
                  <a:lnTo>
                    <a:pt x="17111621" y="11167008"/>
                  </a:lnTo>
                  <a:lnTo>
                    <a:pt x="17151772" y="11146274"/>
                  </a:lnTo>
                  <a:lnTo>
                    <a:pt x="17191565" y="11124950"/>
                  </a:lnTo>
                  <a:lnTo>
                    <a:pt x="17230994" y="11103044"/>
                  </a:lnTo>
                  <a:lnTo>
                    <a:pt x="17270053" y="11080560"/>
                  </a:lnTo>
                  <a:lnTo>
                    <a:pt x="17308736" y="11057504"/>
                  </a:lnTo>
                  <a:lnTo>
                    <a:pt x="17347039" y="11033882"/>
                  </a:lnTo>
                  <a:lnTo>
                    <a:pt x="17384954" y="11009700"/>
                  </a:lnTo>
                  <a:lnTo>
                    <a:pt x="17422476" y="10984964"/>
                  </a:lnTo>
                  <a:lnTo>
                    <a:pt x="17459600" y="10959680"/>
                  </a:lnTo>
                  <a:lnTo>
                    <a:pt x="17496320" y="10933852"/>
                  </a:lnTo>
                  <a:lnTo>
                    <a:pt x="17532629" y="10907488"/>
                  </a:lnTo>
                  <a:lnTo>
                    <a:pt x="17568523" y="10880592"/>
                  </a:lnTo>
                  <a:lnTo>
                    <a:pt x="17603995" y="10853171"/>
                  </a:lnTo>
                  <a:lnTo>
                    <a:pt x="17639040" y="10825230"/>
                  </a:lnTo>
                  <a:lnTo>
                    <a:pt x="17673651" y="10796775"/>
                  </a:lnTo>
                  <a:lnTo>
                    <a:pt x="17707823" y="10767812"/>
                  </a:lnTo>
                  <a:lnTo>
                    <a:pt x="17741551" y="10738346"/>
                  </a:lnTo>
                  <a:lnTo>
                    <a:pt x="17774828" y="10708384"/>
                  </a:lnTo>
                  <a:lnTo>
                    <a:pt x="17807649" y="10677931"/>
                  </a:lnTo>
                  <a:lnTo>
                    <a:pt x="17840008" y="10646993"/>
                  </a:lnTo>
                  <a:lnTo>
                    <a:pt x="17871899" y="10615575"/>
                  </a:lnTo>
                  <a:lnTo>
                    <a:pt x="17903317" y="10583684"/>
                  </a:lnTo>
                  <a:lnTo>
                    <a:pt x="17934255" y="10551326"/>
                  </a:lnTo>
                  <a:lnTo>
                    <a:pt x="17964708" y="10518505"/>
                  </a:lnTo>
                  <a:lnTo>
                    <a:pt x="17994670" y="10485227"/>
                  </a:lnTo>
                  <a:lnTo>
                    <a:pt x="18024135" y="10451500"/>
                  </a:lnTo>
                  <a:lnTo>
                    <a:pt x="18053099" y="10417327"/>
                  </a:lnTo>
                  <a:lnTo>
                    <a:pt x="18081554" y="10382716"/>
                  </a:lnTo>
                  <a:lnTo>
                    <a:pt x="18109494" y="10347671"/>
                  </a:lnTo>
                  <a:lnTo>
                    <a:pt x="18136916" y="10312199"/>
                  </a:lnTo>
                  <a:lnTo>
                    <a:pt x="18163811" y="10276306"/>
                  </a:lnTo>
                  <a:lnTo>
                    <a:pt x="18190176" y="10239996"/>
                  </a:lnTo>
                  <a:lnTo>
                    <a:pt x="18216003" y="10203277"/>
                  </a:lnTo>
                  <a:lnTo>
                    <a:pt x="18241288" y="10166153"/>
                  </a:lnTo>
                  <a:lnTo>
                    <a:pt x="18266024" y="10128630"/>
                  </a:lnTo>
                  <a:lnTo>
                    <a:pt x="18290206" y="10090715"/>
                  </a:lnTo>
                  <a:lnTo>
                    <a:pt x="18313827" y="10052413"/>
                  </a:lnTo>
                  <a:lnTo>
                    <a:pt x="18336883" y="10013729"/>
                  </a:lnTo>
                  <a:lnTo>
                    <a:pt x="18359367" y="9974670"/>
                  </a:lnTo>
                  <a:lnTo>
                    <a:pt x="18381274" y="9935241"/>
                  </a:lnTo>
                  <a:lnTo>
                    <a:pt x="18402597" y="9895448"/>
                  </a:lnTo>
                  <a:lnTo>
                    <a:pt x="18423332" y="9855297"/>
                  </a:lnTo>
                  <a:lnTo>
                    <a:pt x="18443472" y="9814794"/>
                  </a:lnTo>
                  <a:lnTo>
                    <a:pt x="18463011" y="9773944"/>
                  </a:lnTo>
                  <a:lnTo>
                    <a:pt x="18481944" y="9732753"/>
                  </a:lnTo>
                  <a:lnTo>
                    <a:pt x="18500265" y="9691227"/>
                  </a:lnTo>
                  <a:lnTo>
                    <a:pt x="18517968" y="9649372"/>
                  </a:lnTo>
                  <a:lnTo>
                    <a:pt x="18535048" y="9607193"/>
                  </a:lnTo>
                  <a:lnTo>
                    <a:pt x="18551498" y="9564696"/>
                  </a:lnTo>
                  <a:lnTo>
                    <a:pt x="18567313" y="9521888"/>
                  </a:lnTo>
                  <a:lnTo>
                    <a:pt x="18582487" y="9478773"/>
                  </a:lnTo>
                  <a:lnTo>
                    <a:pt x="18597015" y="9435357"/>
                  </a:lnTo>
                  <a:lnTo>
                    <a:pt x="18610890" y="9391647"/>
                  </a:lnTo>
                  <a:lnTo>
                    <a:pt x="18624107" y="9347648"/>
                  </a:lnTo>
                  <a:lnTo>
                    <a:pt x="18636660" y="9303365"/>
                  </a:lnTo>
                  <a:lnTo>
                    <a:pt x="18648543" y="9258806"/>
                  </a:lnTo>
                  <a:lnTo>
                    <a:pt x="18659751" y="9213974"/>
                  </a:lnTo>
                  <a:lnTo>
                    <a:pt x="18670277" y="9168877"/>
                  </a:lnTo>
                  <a:lnTo>
                    <a:pt x="18680117" y="9123520"/>
                  </a:lnTo>
                  <a:lnTo>
                    <a:pt x="18689264" y="9077908"/>
                  </a:lnTo>
                  <a:lnTo>
                    <a:pt x="18697712" y="9032048"/>
                  </a:lnTo>
                  <a:lnTo>
                    <a:pt x="18705455" y="8985945"/>
                  </a:lnTo>
                  <a:lnTo>
                    <a:pt x="18712489" y="8939604"/>
                  </a:lnTo>
                  <a:lnTo>
                    <a:pt x="18718807" y="8893033"/>
                  </a:lnTo>
                  <a:lnTo>
                    <a:pt x="18724403" y="8846236"/>
                  </a:lnTo>
                  <a:lnTo>
                    <a:pt x="18729271" y="8799220"/>
                  </a:lnTo>
                  <a:lnTo>
                    <a:pt x="18733407" y="8751989"/>
                  </a:lnTo>
                  <a:lnTo>
                    <a:pt x="18736803" y="8704550"/>
                  </a:lnTo>
                  <a:lnTo>
                    <a:pt x="18739455" y="8656909"/>
                  </a:lnTo>
                  <a:lnTo>
                    <a:pt x="18741356" y="8609072"/>
                  </a:lnTo>
                  <a:lnTo>
                    <a:pt x="18742501" y="8561043"/>
                  </a:lnTo>
                  <a:lnTo>
                    <a:pt x="18742884" y="8512829"/>
                  </a:lnTo>
                  <a:lnTo>
                    <a:pt x="18742884" y="0"/>
                  </a:lnTo>
                  <a:close/>
                </a:path>
              </a:pathLst>
            </a:custGeom>
            <a:solidFill>
              <a:srgbClr val="A78A4C"/>
            </a:solidFill>
          </p:spPr>
          <p:txBody>
            <a:bodyPr wrap="square" lIns="0" tIns="0" rIns="0" bIns="0" rtlCol="0"/>
            <a:lstStyle/>
            <a:p>
              <a:endParaRPr lang="en-US" sz="960" dirty="0"/>
            </a:p>
          </p:txBody>
        </p:sp>
        <p:sp>
          <p:nvSpPr>
            <p:cNvPr id="4" name="object 4"/>
            <p:cNvSpPr/>
            <p:nvPr/>
          </p:nvSpPr>
          <p:spPr>
            <a:xfrm>
              <a:off x="8244434" y="2518256"/>
              <a:ext cx="3615690" cy="1275080"/>
            </a:xfrm>
            <a:custGeom>
              <a:avLst/>
              <a:gdLst/>
              <a:ahLst/>
              <a:cxnLst/>
              <a:rect l="l" t="t" r="r" b="b"/>
              <a:pathLst>
                <a:path w="3615690" h="1275079">
                  <a:moveTo>
                    <a:pt x="1020140" y="1193"/>
                  </a:moveTo>
                  <a:lnTo>
                    <a:pt x="128168" y="1193"/>
                  </a:lnTo>
                  <a:lnTo>
                    <a:pt x="128168" y="133286"/>
                  </a:lnTo>
                  <a:lnTo>
                    <a:pt x="1020140" y="133286"/>
                  </a:lnTo>
                  <a:lnTo>
                    <a:pt x="1020140" y="1193"/>
                  </a:lnTo>
                  <a:close/>
                </a:path>
                <a:path w="3615690" h="1275079">
                  <a:moveTo>
                    <a:pt x="1020203" y="268173"/>
                  </a:moveTo>
                  <a:lnTo>
                    <a:pt x="891997" y="268173"/>
                  </a:lnTo>
                  <a:lnTo>
                    <a:pt x="891997" y="764501"/>
                  </a:lnTo>
                  <a:lnTo>
                    <a:pt x="888796" y="814044"/>
                  </a:lnTo>
                  <a:lnTo>
                    <a:pt x="879449" y="861695"/>
                  </a:lnTo>
                  <a:lnTo>
                    <a:pt x="864362" y="907034"/>
                  </a:lnTo>
                  <a:lnTo>
                    <a:pt x="843953" y="949667"/>
                  </a:lnTo>
                  <a:lnTo>
                    <a:pt x="818616" y="989203"/>
                  </a:lnTo>
                  <a:lnTo>
                    <a:pt x="788746" y="1025245"/>
                  </a:lnTo>
                  <a:lnTo>
                    <a:pt x="754773" y="1057389"/>
                  </a:lnTo>
                  <a:lnTo>
                    <a:pt x="754773" y="268173"/>
                  </a:lnTo>
                  <a:lnTo>
                    <a:pt x="622617" y="268173"/>
                  </a:lnTo>
                  <a:lnTo>
                    <a:pt x="622617" y="1129423"/>
                  </a:lnTo>
                  <a:lnTo>
                    <a:pt x="595541" y="1136726"/>
                  </a:lnTo>
                  <a:lnTo>
                    <a:pt x="567690" y="1142034"/>
                  </a:lnTo>
                  <a:lnTo>
                    <a:pt x="539178" y="1145273"/>
                  </a:lnTo>
                  <a:lnTo>
                    <a:pt x="510082" y="1146378"/>
                  </a:lnTo>
                  <a:lnTo>
                    <a:pt x="462241" y="1143393"/>
                  </a:lnTo>
                  <a:lnTo>
                    <a:pt x="416153" y="1134694"/>
                  </a:lnTo>
                  <a:lnTo>
                    <a:pt x="372186" y="1120635"/>
                  </a:lnTo>
                  <a:lnTo>
                    <a:pt x="330695" y="1101572"/>
                  </a:lnTo>
                  <a:lnTo>
                    <a:pt x="292049" y="1077861"/>
                  </a:lnTo>
                  <a:lnTo>
                    <a:pt x="256590" y="1049883"/>
                  </a:lnTo>
                  <a:lnTo>
                    <a:pt x="224688" y="1017981"/>
                  </a:lnTo>
                  <a:lnTo>
                    <a:pt x="196697" y="982522"/>
                  </a:lnTo>
                  <a:lnTo>
                    <a:pt x="172999" y="943876"/>
                  </a:lnTo>
                  <a:lnTo>
                    <a:pt x="153936" y="902385"/>
                  </a:lnTo>
                  <a:lnTo>
                    <a:pt x="139865" y="858418"/>
                  </a:lnTo>
                  <a:lnTo>
                    <a:pt x="131165" y="812330"/>
                  </a:lnTo>
                  <a:lnTo>
                    <a:pt x="128181" y="764501"/>
                  </a:lnTo>
                  <a:lnTo>
                    <a:pt x="128181" y="741464"/>
                  </a:lnTo>
                  <a:lnTo>
                    <a:pt x="0" y="741464"/>
                  </a:lnTo>
                  <a:lnTo>
                    <a:pt x="0" y="764501"/>
                  </a:lnTo>
                  <a:lnTo>
                    <a:pt x="2336" y="813549"/>
                  </a:lnTo>
                  <a:lnTo>
                    <a:pt x="9207" y="861301"/>
                  </a:lnTo>
                  <a:lnTo>
                    <a:pt x="20408" y="907529"/>
                  </a:lnTo>
                  <a:lnTo>
                    <a:pt x="35712" y="952030"/>
                  </a:lnTo>
                  <a:lnTo>
                    <a:pt x="54889" y="994575"/>
                  </a:lnTo>
                  <a:lnTo>
                    <a:pt x="77749" y="1034961"/>
                  </a:lnTo>
                  <a:lnTo>
                    <a:pt x="104076" y="1072959"/>
                  </a:lnTo>
                  <a:lnTo>
                    <a:pt x="133642" y="1108367"/>
                  </a:lnTo>
                  <a:lnTo>
                    <a:pt x="166230" y="1140955"/>
                  </a:lnTo>
                  <a:lnTo>
                    <a:pt x="201625" y="1170520"/>
                  </a:lnTo>
                  <a:lnTo>
                    <a:pt x="239623" y="1196848"/>
                  </a:lnTo>
                  <a:lnTo>
                    <a:pt x="280009" y="1219708"/>
                  </a:lnTo>
                  <a:lnTo>
                    <a:pt x="322554" y="1238897"/>
                  </a:lnTo>
                  <a:lnTo>
                    <a:pt x="367042" y="1254201"/>
                  </a:lnTo>
                  <a:lnTo>
                    <a:pt x="413270" y="1265402"/>
                  </a:lnTo>
                  <a:lnTo>
                    <a:pt x="461022" y="1272273"/>
                  </a:lnTo>
                  <a:lnTo>
                    <a:pt x="510082" y="1274610"/>
                  </a:lnTo>
                  <a:lnTo>
                    <a:pt x="559142" y="1272273"/>
                  </a:lnTo>
                  <a:lnTo>
                    <a:pt x="606894" y="1265402"/>
                  </a:lnTo>
                  <a:lnTo>
                    <a:pt x="653122" y="1254201"/>
                  </a:lnTo>
                  <a:lnTo>
                    <a:pt x="697623" y="1238897"/>
                  </a:lnTo>
                  <a:lnTo>
                    <a:pt x="740168" y="1219708"/>
                  </a:lnTo>
                  <a:lnTo>
                    <a:pt x="780554" y="1196848"/>
                  </a:lnTo>
                  <a:lnTo>
                    <a:pt x="818553" y="1170520"/>
                  </a:lnTo>
                  <a:lnTo>
                    <a:pt x="853960" y="1140955"/>
                  </a:lnTo>
                  <a:lnTo>
                    <a:pt x="886548" y="1108367"/>
                  </a:lnTo>
                  <a:lnTo>
                    <a:pt x="916114" y="1072959"/>
                  </a:lnTo>
                  <a:lnTo>
                    <a:pt x="942441" y="1034961"/>
                  </a:lnTo>
                  <a:lnTo>
                    <a:pt x="965301" y="994575"/>
                  </a:lnTo>
                  <a:lnTo>
                    <a:pt x="984491" y="952030"/>
                  </a:lnTo>
                  <a:lnTo>
                    <a:pt x="999794" y="907529"/>
                  </a:lnTo>
                  <a:lnTo>
                    <a:pt x="1010983" y="861301"/>
                  </a:lnTo>
                  <a:lnTo>
                    <a:pt x="1017854" y="813549"/>
                  </a:lnTo>
                  <a:lnTo>
                    <a:pt x="1020203" y="764501"/>
                  </a:lnTo>
                  <a:lnTo>
                    <a:pt x="1020203" y="268173"/>
                  </a:lnTo>
                  <a:close/>
                </a:path>
                <a:path w="3615690" h="1275079">
                  <a:moveTo>
                    <a:pt x="1608823" y="4635"/>
                  </a:moveTo>
                  <a:lnTo>
                    <a:pt x="1521739" y="4635"/>
                  </a:lnTo>
                  <a:lnTo>
                    <a:pt x="1521739" y="302983"/>
                  </a:lnTo>
                  <a:lnTo>
                    <a:pt x="1521167" y="317576"/>
                  </a:lnTo>
                  <a:lnTo>
                    <a:pt x="1507147" y="353187"/>
                  </a:lnTo>
                  <a:lnTo>
                    <a:pt x="1481797" y="360527"/>
                  </a:lnTo>
                  <a:lnTo>
                    <a:pt x="1475689" y="360527"/>
                  </a:lnTo>
                  <a:lnTo>
                    <a:pt x="1469974" y="359943"/>
                  </a:lnTo>
                  <a:lnTo>
                    <a:pt x="1449793" y="355904"/>
                  </a:lnTo>
                  <a:lnTo>
                    <a:pt x="1449793" y="423570"/>
                  </a:lnTo>
                  <a:lnTo>
                    <a:pt x="1460576" y="425602"/>
                  </a:lnTo>
                  <a:lnTo>
                    <a:pt x="1471663" y="427050"/>
                  </a:lnTo>
                  <a:lnTo>
                    <a:pt x="1483067" y="427913"/>
                  </a:lnTo>
                  <a:lnTo>
                    <a:pt x="1494751" y="428205"/>
                  </a:lnTo>
                  <a:lnTo>
                    <a:pt x="1521498" y="426097"/>
                  </a:lnTo>
                  <a:lnTo>
                    <a:pt x="1564271" y="409295"/>
                  </a:lnTo>
                  <a:lnTo>
                    <a:pt x="1592795" y="375780"/>
                  </a:lnTo>
                  <a:lnTo>
                    <a:pt x="1607045" y="326224"/>
                  </a:lnTo>
                  <a:lnTo>
                    <a:pt x="1608823" y="295465"/>
                  </a:lnTo>
                  <a:lnTo>
                    <a:pt x="1608823" y="4635"/>
                  </a:lnTo>
                  <a:close/>
                </a:path>
                <a:path w="3615690" h="1275079">
                  <a:moveTo>
                    <a:pt x="1621370" y="1247076"/>
                  </a:moveTo>
                  <a:lnTo>
                    <a:pt x="1471676" y="1247076"/>
                  </a:lnTo>
                  <a:lnTo>
                    <a:pt x="1471676" y="953706"/>
                  </a:lnTo>
                  <a:lnTo>
                    <a:pt x="1449781" y="953706"/>
                  </a:lnTo>
                  <a:lnTo>
                    <a:pt x="1449781" y="1247076"/>
                  </a:lnTo>
                  <a:lnTo>
                    <a:pt x="1449781" y="1267396"/>
                  </a:lnTo>
                  <a:lnTo>
                    <a:pt x="1621370" y="1267396"/>
                  </a:lnTo>
                  <a:lnTo>
                    <a:pt x="1621370" y="1247076"/>
                  </a:lnTo>
                  <a:close/>
                </a:path>
                <a:path w="3615690" h="1275079">
                  <a:moveTo>
                    <a:pt x="1697380" y="953401"/>
                  </a:moveTo>
                  <a:lnTo>
                    <a:pt x="1675485" y="953401"/>
                  </a:lnTo>
                  <a:lnTo>
                    <a:pt x="1675485" y="1267396"/>
                  </a:lnTo>
                  <a:lnTo>
                    <a:pt x="1697380" y="1267396"/>
                  </a:lnTo>
                  <a:lnTo>
                    <a:pt x="1697380" y="953401"/>
                  </a:lnTo>
                  <a:close/>
                </a:path>
                <a:path w="3615690" h="1275079">
                  <a:moveTo>
                    <a:pt x="1840636" y="495134"/>
                  </a:moveTo>
                  <a:lnTo>
                    <a:pt x="1788795" y="495134"/>
                  </a:lnTo>
                  <a:lnTo>
                    <a:pt x="1738693" y="699871"/>
                  </a:lnTo>
                  <a:lnTo>
                    <a:pt x="1734273" y="720407"/>
                  </a:lnTo>
                  <a:lnTo>
                    <a:pt x="1730984" y="738860"/>
                  </a:lnTo>
                  <a:lnTo>
                    <a:pt x="1728812" y="755205"/>
                  </a:lnTo>
                  <a:lnTo>
                    <a:pt x="1724685" y="731405"/>
                  </a:lnTo>
                  <a:lnTo>
                    <a:pt x="1720684" y="710755"/>
                  </a:lnTo>
                  <a:lnTo>
                    <a:pt x="1716786" y="693280"/>
                  </a:lnTo>
                  <a:lnTo>
                    <a:pt x="1712988" y="678954"/>
                  </a:lnTo>
                  <a:lnTo>
                    <a:pt x="1660702" y="495134"/>
                  </a:lnTo>
                  <a:lnTo>
                    <a:pt x="1609928" y="495134"/>
                  </a:lnTo>
                  <a:lnTo>
                    <a:pt x="1558937" y="678103"/>
                  </a:lnTo>
                  <a:lnTo>
                    <a:pt x="1546225" y="735939"/>
                  </a:lnTo>
                  <a:lnTo>
                    <a:pt x="1543291" y="755205"/>
                  </a:lnTo>
                  <a:lnTo>
                    <a:pt x="1540662" y="737768"/>
                  </a:lnTo>
                  <a:lnTo>
                    <a:pt x="1537284" y="719035"/>
                  </a:lnTo>
                  <a:lnTo>
                    <a:pt x="1533169" y="699008"/>
                  </a:lnTo>
                  <a:lnTo>
                    <a:pt x="1528318" y="677697"/>
                  </a:lnTo>
                  <a:lnTo>
                    <a:pt x="1483525" y="495134"/>
                  </a:lnTo>
                  <a:lnTo>
                    <a:pt x="1431239" y="495134"/>
                  </a:lnTo>
                  <a:lnTo>
                    <a:pt x="1472374" y="651573"/>
                  </a:lnTo>
                  <a:lnTo>
                    <a:pt x="1512887" y="808355"/>
                  </a:lnTo>
                  <a:lnTo>
                    <a:pt x="1568551" y="808355"/>
                  </a:lnTo>
                  <a:lnTo>
                    <a:pt x="1622120" y="616369"/>
                  </a:lnTo>
                  <a:lnTo>
                    <a:pt x="1626146" y="600062"/>
                  </a:lnTo>
                  <a:lnTo>
                    <a:pt x="1632597" y="570026"/>
                  </a:lnTo>
                  <a:lnTo>
                    <a:pt x="1635417" y="554266"/>
                  </a:lnTo>
                  <a:lnTo>
                    <a:pt x="1636217" y="559650"/>
                  </a:lnTo>
                  <a:lnTo>
                    <a:pt x="1639316" y="575678"/>
                  </a:lnTo>
                  <a:lnTo>
                    <a:pt x="1644091" y="597154"/>
                  </a:lnTo>
                  <a:lnTo>
                    <a:pt x="1648383" y="614794"/>
                  </a:lnTo>
                  <a:lnTo>
                    <a:pt x="1703311" y="808355"/>
                  </a:lnTo>
                  <a:lnTo>
                    <a:pt x="1759026" y="808355"/>
                  </a:lnTo>
                  <a:lnTo>
                    <a:pt x="1840636" y="495134"/>
                  </a:lnTo>
                  <a:close/>
                </a:path>
                <a:path w="3615690" h="1275079">
                  <a:moveTo>
                    <a:pt x="1936191" y="495160"/>
                  </a:moveTo>
                  <a:lnTo>
                    <a:pt x="1884984" y="495160"/>
                  </a:lnTo>
                  <a:lnTo>
                    <a:pt x="1884984" y="808393"/>
                  </a:lnTo>
                  <a:lnTo>
                    <a:pt x="1936191" y="808393"/>
                  </a:lnTo>
                  <a:lnTo>
                    <a:pt x="1936191" y="495160"/>
                  </a:lnTo>
                  <a:close/>
                </a:path>
                <a:path w="3615690" h="1275079">
                  <a:moveTo>
                    <a:pt x="1950872" y="4635"/>
                  </a:moveTo>
                  <a:lnTo>
                    <a:pt x="1864220" y="4635"/>
                  </a:lnTo>
                  <a:lnTo>
                    <a:pt x="1864220" y="193344"/>
                  </a:lnTo>
                  <a:lnTo>
                    <a:pt x="1863471" y="209562"/>
                  </a:lnTo>
                  <a:lnTo>
                    <a:pt x="1845386" y="250228"/>
                  </a:lnTo>
                  <a:lnTo>
                    <a:pt x="1813775" y="258864"/>
                  </a:lnTo>
                  <a:lnTo>
                    <a:pt x="1802130" y="257898"/>
                  </a:lnTo>
                  <a:lnTo>
                    <a:pt x="1770672" y="234543"/>
                  </a:lnTo>
                  <a:lnTo>
                    <a:pt x="1763509" y="193802"/>
                  </a:lnTo>
                  <a:lnTo>
                    <a:pt x="1763509" y="4635"/>
                  </a:lnTo>
                  <a:lnTo>
                    <a:pt x="1676412" y="4635"/>
                  </a:lnTo>
                  <a:lnTo>
                    <a:pt x="1676412" y="200634"/>
                  </a:lnTo>
                  <a:lnTo>
                    <a:pt x="1678609" y="230441"/>
                  </a:lnTo>
                  <a:lnTo>
                    <a:pt x="1696212" y="278955"/>
                  </a:lnTo>
                  <a:lnTo>
                    <a:pt x="1731124" y="312420"/>
                  </a:lnTo>
                  <a:lnTo>
                    <a:pt x="1781530" y="329285"/>
                  </a:lnTo>
                  <a:lnTo>
                    <a:pt x="1812429" y="331393"/>
                  </a:lnTo>
                  <a:lnTo>
                    <a:pt x="1844040" y="329222"/>
                  </a:lnTo>
                  <a:lnTo>
                    <a:pt x="1895436" y="311873"/>
                  </a:lnTo>
                  <a:lnTo>
                    <a:pt x="1930819" y="277533"/>
                  </a:lnTo>
                  <a:lnTo>
                    <a:pt x="1948649" y="228523"/>
                  </a:lnTo>
                  <a:lnTo>
                    <a:pt x="1950872" y="198653"/>
                  </a:lnTo>
                  <a:lnTo>
                    <a:pt x="1950872" y="4635"/>
                  </a:lnTo>
                  <a:close/>
                </a:path>
                <a:path w="3615690" h="1275079">
                  <a:moveTo>
                    <a:pt x="1970163" y="953706"/>
                  </a:moveTo>
                  <a:lnTo>
                    <a:pt x="1743989" y="953706"/>
                  </a:lnTo>
                  <a:lnTo>
                    <a:pt x="1743989" y="974026"/>
                  </a:lnTo>
                  <a:lnTo>
                    <a:pt x="1846008" y="974026"/>
                  </a:lnTo>
                  <a:lnTo>
                    <a:pt x="1846008" y="1267396"/>
                  </a:lnTo>
                  <a:lnTo>
                    <a:pt x="1868131" y="1267396"/>
                  </a:lnTo>
                  <a:lnTo>
                    <a:pt x="1868131" y="974026"/>
                  </a:lnTo>
                  <a:lnTo>
                    <a:pt x="1970163" y="974026"/>
                  </a:lnTo>
                  <a:lnTo>
                    <a:pt x="1970163" y="953706"/>
                  </a:lnTo>
                  <a:close/>
                </a:path>
                <a:path w="3615690" h="1275079">
                  <a:moveTo>
                    <a:pt x="2038629" y="953401"/>
                  </a:moveTo>
                  <a:lnTo>
                    <a:pt x="2016734" y="953401"/>
                  </a:lnTo>
                  <a:lnTo>
                    <a:pt x="2016734" y="1267396"/>
                  </a:lnTo>
                  <a:lnTo>
                    <a:pt x="2038629" y="1267396"/>
                  </a:lnTo>
                  <a:lnTo>
                    <a:pt x="2038629" y="953401"/>
                  </a:lnTo>
                  <a:close/>
                </a:path>
                <a:path w="3615690" h="1275079">
                  <a:moveTo>
                    <a:pt x="2219210" y="494665"/>
                  </a:moveTo>
                  <a:lnTo>
                    <a:pt x="1983778" y="494665"/>
                  </a:lnTo>
                  <a:lnTo>
                    <a:pt x="1983778" y="539115"/>
                  </a:lnTo>
                  <a:lnTo>
                    <a:pt x="2075865" y="539115"/>
                  </a:lnTo>
                  <a:lnTo>
                    <a:pt x="2075865" y="808355"/>
                  </a:lnTo>
                  <a:lnTo>
                    <a:pt x="2127072" y="808355"/>
                  </a:lnTo>
                  <a:lnTo>
                    <a:pt x="2127072" y="539115"/>
                  </a:lnTo>
                  <a:lnTo>
                    <a:pt x="2219210" y="539115"/>
                  </a:lnTo>
                  <a:lnTo>
                    <a:pt x="2219210" y="494665"/>
                  </a:lnTo>
                  <a:close/>
                </a:path>
                <a:path w="3615690" h="1275079">
                  <a:moveTo>
                    <a:pt x="2227961" y="23152"/>
                  </a:moveTo>
                  <a:lnTo>
                    <a:pt x="2202205" y="13030"/>
                  </a:lnTo>
                  <a:lnTo>
                    <a:pt x="2176678" y="5791"/>
                  </a:lnTo>
                  <a:lnTo>
                    <a:pt x="2151405" y="1447"/>
                  </a:lnTo>
                  <a:lnTo>
                    <a:pt x="2126386" y="0"/>
                  </a:lnTo>
                  <a:lnTo>
                    <a:pt x="2099703" y="1562"/>
                  </a:lnTo>
                  <a:lnTo>
                    <a:pt x="2055393" y="14020"/>
                  </a:lnTo>
                  <a:lnTo>
                    <a:pt x="2023656" y="38608"/>
                  </a:lnTo>
                  <a:lnTo>
                    <a:pt x="2007527" y="73342"/>
                  </a:lnTo>
                  <a:lnTo>
                    <a:pt x="2005520" y="94386"/>
                  </a:lnTo>
                  <a:lnTo>
                    <a:pt x="2005990" y="105892"/>
                  </a:lnTo>
                  <a:lnTo>
                    <a:pt x="2017356" y="144068"/>
                  </a:lnTo>
                  <a:lnTo>
                    <a:pt x="2045157" y="173253"/>
                  </a:lnTo>
                  <a:lnTo>
                    <a:pt x="2083396" y="194246"/>
                  </a:lnTo>
                  <a:lnTo>
                    <a:pt x="2111387" y="207276"/>
                  </a:lnTo>
                  <a:lnTo>
                    <a:pt x="2120392" y="211785"/>
                  </a:lnTo>
                  <a:lnTo>
                    <a:pt x="2141309" y="232194"/>
                  </a:lnTo>
                  <a:lnTo>
                    <a:pt x="2141309" y="243662"/>
                  </a:lnTo>
                  <a:lnTo>
                    <a:pt x="2103996" y="260616"/>
                  </a:lnTo>
                  <a:lnTo>
                    <a:pt x="2092528" y="260159"/>
                  </a:lnTo>
                  <a:lnTo>
                    <a:pt x="2054847" y="253453"/>
                  </a:lnTo>
                  <a:lnTo>
                    <a:pt x="2015832" y="239560"/>
                  </a:lnTo>
                  <a:lnTo>
                    <a:pt x="2003323" y="233502"/>
                  </a:lnTo>
                  <a:lnTo>
                    <a:pt x="2003323" y="311111"/>
                  </a:lnTo>
                  <a:lnTo>
                    <a:pt x="2048510" y="326885"/>
                  </a:lnTo>
                  <a:lnTo>
                    <a:pt x="2086864" y="331114"/>
                  </a:lnTo>
                  <a:lnTo>
                    <a:pt x="2102231" y="331393"/>
                  </a:lnTo>
                  <a:lnTo>
                    <a:pt x="2120811" y="330593"/>
                  </a:lnTo>
                  <a:lnTo>
                    <a:pt x="2169185" y="318528"/>
                  </a:lnTo>
                  <a:lnTo>
                    <a:pt x="2204440" y="293319"/>
                  </a:lnTo>
                  <a:lnTo>
                    <a:pt x="2224189" y="257403"/>
                  </a:lnTo>
                  <a:lnTo>
                    <a:pt x="2227961" y="229095"/>
                  </a:lnTo>
                  <a:lnTo>
                    <a:pt x="2226957" y="213474"/>
                  </a:lnTo>
                  <a:lnTo>
                    <a:pt x="2211819" y="174942"/>
                  </a:lnTo>
                  <a:lnTo>
                    <a:pt x="2173401" y="144259"/>
                  </a:lnTo>
                  <a:lnTo>
                    <a:pt x="2134743" y="125564"/>
                  </a:lnTo>
                  <a:lnTo>
                    <a:pt x="2119401" y="117957"/>
                  </a:lnTo>
                  <a:lnTo>
                    <a:pt x="2108250" y="111899"/>
                  </a:lnTo>
                  <a:lnTo>
                    <a:pt x="2101291" y="107378"/>
                  </a:lnTo>
                  <a:lnTo>
                    <a:pt x="2094776" y="102387"/>
                  </a:lnTo>
                  <a:lnTo>
                    <a:pt x="2091499" y="96723"/>
                  </a:lnTo>
                  <a:lnTo>
                    <a:pt x="2091499" y="84531"/>
                  </a:lnTo>
                  <a:lnTo>
                    <a:pt x="2094064" y="79590"/>
                  </a:lnTo>
                  <a:lnTo>
                    <a:pt x="2104313" y="71678"/>
                  </a:lnTo>
                  <a:lnTo>
                    <a:pt x="2112492" y="69697"/>
                  </a:lnTo>
                  <a:lnTo>
                    <a:pt x="2123732" y="69697"/>
                  </a:lnTo>
                  <a:lnTo>
                    <a:pt x="2140851" y="70993"/>
                  </a:lnTo>
                  <a:lnTo>
                    <a:pt x="2159508" y="74879"/>
                  </a:lnTo>
                  <a:lnTo>
                    <a:pt x="2179701" y="81356"/>
                  </a:lnTo>
                  <a:lnTo>
                    <a:pt x="2201430" y="90411"/>
                  </a:lnTo>
                  <a:lnTo>
                    <a:pt x="2227961" y="23152"/>
                  </a:lnTo>
                  <a:close/>
                </a:path>
                <a:path w="3615690" h="1275079">
                  <a:moveTo>
                    <a:pt x="2366784" y="1109116"/>
                  </a:moveTo>
                  <a:lnTo>
                    <a:pt x="2251049" y="1109116"/>
                  </a:lnTo>
                  <a:lnTo>
                    <a:pt x="2251049" y="1129753"/>
                  </a:lnTo>
                  <a:lnTo>
                    <a:pt x="2344496" y="1129753"/>
                  </a:lnTo>
                  <a:lnTo>
                    <a:pt x="2344496" y="1240091"/>
                  </a:lnTo>
                  <a:lnTo>
                    <a:pt x="2328532" y="1245463"/>
                  </a:lnTo>
                  <a:lnTo>
                    <a:pt x="2310930" y="1249299"/>
                  </a:lnTo>
                  <a:lnTo>
                    <a:pt x="2291689" y="1251610"/>
                  </a:lnTo>
                  <a:lnTo>
                    <a:pt x="2270785" y="1252372"/>
                  </a:lnTo>
                  <a:lnTo>
                    <a:pt x="2239327" y="1250137"/>
                  </a:lnTo>
                  <a:lnTo>
                    <a:pt x="2188540" y="1232268"/>
                  </a:lnTo>
                  <a:lnTo>
                    <a:pt x="2154110" y="1196555"/>
                  </a:lnTo>
                  <a:lnTo>
                    <a:pt x="2136800" y="1143215"/>
                  </a:lnTo>
                  <a:lnTo>
                    <a:pt x="2134641" y="1109967"/>
                  </a:lnTo>
                  <a:lnTo>
                    <a:pt x="2136914" y="1079106"/>
                  </a:lnTo>
                  <a:lnTo>
                    <a:pt x="2155126" y="1027417"/>
                  </a:lnTo>
                  <a:lnTo>
                    <a:pt x="2190877" y="989812"/>
                  </a:lnTo>
                  <a:lnTo>
                    <a:pt x="2240115" y="970635"/>
                  </a:lnTo>
                  <a:lnTo>
                    <a:pt x="2269528" y="968235"/>
                  </a:lnTo>
                  <a:lnTo>
                    <a:pt x="2291245" y="969416"/>
                  </a:lnTo>
                  <a:lnTo>
                    <a:pt x="2312593" y="972959"/>
                  </a:lnTo>
                  <a:lnTo>
                    <a:pt x="2333561" y="978865"/>
                  </a:lnTo>
                  <a:lnTo>
                    <a:pt x="2354161" y="987120"/>
                  </a:lnTo>
                  <a:lnTo>
                    <a:pt x="2362962" y="967384"/>
                  </a:lnTo>
                  <a:lnTo>
                    <a:pt x="2341880" y="959116"/>
                  </a:lnTo>
                  <a:lnTo>
                    <a:pt x="2319490" y="953198"/>
                  </a:lnTo>
                  <a:lnTo>
                    <a:pt x="2295791" y="949642"/>
                  </a:lnTo>
                  <a:lnTo>
                    <a:pt x="2270785" y="948461"/>
                  </a:lnTo>
                  <a:lnTo>
                    <a:pt x="2247747" y="949718"/>
                  </a:lnTo>
                  <a:lnTo>
                    <a:pt x="2205723" y="959815"/>
                  </a:lnTo>
                  <a:lnTo>
                    <a:pt x="2169503" y="979805"/>
                  </a:lnTo>
                  <a:lnTo>
                    <a:pt x="2141347" y="1008430"/>
                  </a:lnTo>
                  <a:lnTo>
                    <a:pt x="2121865" y="1045083"/>
                  </a:lnTo>
                  <a:lnTo>
                    <a:pt x="2112035" y="1087551"/>
                  </a:lnTo>
                  <a:lnTo>
                    <a:pt x="2110803" y="1110818"/>
                  </a:lnTo>
                  <a:lnTo>
                    <a:pt x="2113280" y="1147076"/>
                  </a:lnTo>
                  <a:lnTo>
                    <a:pt x="2133104" y="1206525"/>
                  </a:lnTo>
                  <a:lnTo>
                    <a:pt x="2172424" y="1248067"/>
                  </a:lnTo>
                  <a:lnTo>
                    <a:pt x="2229396" y="1269072"/>
                  </a:lnTo>
                  <a:lnTo>
                    <a:pt x="2264359" y="1271701"/>
                  </a:lnTo>
                  <a:lnTo>
                    <a:pt x="2292108" y="1270495"/>
                  </a:lnTo>
                  <a:lnTo>
                    <a:pt x="2318423" y="1266875"/>
                  </a:lnTo>
                  <a:lnTo>
                    <a:pt x="2343315" y="1260830"/>
                  </a:lnTo>
                  <a:lnTo>
                    <a:pt x="2366784" y="1252372"/>
                  </a:lnTo>
                  <a:lnTo>
                    <a:pt x="2366784" y="1109116"/>
                  </a:lnTo>
                  <a:close/>
                </a:path>
                <a:path w="3615690" h="1275079">
                  <a:moveTo>
                    <a:pt x="2497150" y="4419"/>
                  </a:moveTo>
                  <a:lnTo>
                    <a:pt x="2254072" y="4419"/>
                  </a:lnTo>
                  <a:lnTo>
                    <a:pt x="2254072" y="75539"/>
                  </a:lnTo>
                  <a:lnTo>
                    <a:pt x="2332405" y="75539"/>
                  </a:lnTo>
                  <a:lnTo>
                    <a:pt x="2332405" y="326999"/>
                  </a:lnTo>
                  <a:lnTo>
                    <a:pt x="2419045" y="326999"/>
                  </a:lnTo>
                  <a:lnTo>
                    <a:pt x="2419045" y="75539"/>
                  </a:lnTo>
                  <a:lnTo>
                    <a:pt x="2497150" y="75539"/>
                  </a:lnTo>
                  <a:lnTo>
                    <a:pt x="2497150" y="4419"/>
                  </a:lnTo>
                  <a:close/>
                </a:path>
                <a:path w="3615690" h="1275079">
                  <a:moveTo>
                    <a:pt x="2514206" y="494665"/>
                  </a:moveTo>
                  <a:lnTo>
                    <a:pt x="2462771" y="494665"/>
                  </a:lnTo>
                  <a:lnTo>
                    <a:pt x="2462771" y="622935"/>
                  </a:lnTo>
                  <a:lnTo>
                    <a:pt x="2318397" y="622935"/>
                  </a:lnTo>
                  <a:lnTo>
                    <a:pt x="2318397" y="494665"/>
                  </a:lnTo>
                  <a:lnTo>
                    <a:pt x="2267166" y="494665"/>
                  </a:lnTo>
                  <a:lnTo>
                    <a:pt x="2267166" y="622935"/>
                  </a:lnTo>
                  <a:lnTo>
                    <a:pt x="2267166" y="667385"/>
                  </a:lnTo>
                  <a:lnTo>
                    <a:pt x="2267166" y="808355"/>
                  </a:lnTo>
                  <a:lnTo>
                    <a:pt x="2318397" y="808355"/>
                  </a:lnTo>
                  <a:lnTo>
                    <a:pt x="2318397" y="667385"/>
                  </a:lnTo>
                  <a:lnTo>
                    <a:pt x="2462771" y="667385"/>
                  </a:lnTo>
                  <a:lnTo>
                    <a:pt x="2462771" y="808355"/>
                  </a:lnTo>
                  <a:lnTo>
                    <a:pt x="2514206" y="808355"/>
                  </a:lnTo>
                  <a:lnTo>
                    <a:pt x="2514206" y="667385"/>
                  </a:lnTo>
                  <a:lnTo>
                    <a:pt x="2514206" y="622935"/>
                  </a:lnTo>
                  <a:lnTo>
                    <a:pt x="2514206" y="494665"/>
                  </a:lnTo>
                  <a:close/>
                </a:path>
                <a:path w="3615690" h="1275079">
                  <a:moveTo>
                    <a:pt x="2630093" y="4648"/>
                  </a:moveTo>
                  <a:lnTo>
                    <a:pt x="2542997" y="4648"/>
                  </a:lnTo>
                  <a:lnTo>
                    <a:pt x="2542997" y="326999"/>
                  </a:lnTo>
                  <a:lnTo>
                    <a:pt x="2630093" y="326999"/>
                  </a:lnTo>
                  <a:lnTo>
                    <a:pt x="2630093" y="4648"/>
                  </a:lnTo>
                  <a:close/>
                </a:path>
                <a:path w="3615690" h="1275079">
                  <a:moveTo>
                    <a:pt x="2665107" y="1267396"/>
                  </a:moveTo>
                  <a:lnTo>
                    <a:pt x="2621623" y="1156563"/>
                  </a:lnTo>
                  <a:lnTo>
                    <a:pt x="2613876" y="1136827"/>
                  </a:lnTo>
                  <a:lnTo>
                    <a:pt x="2589517" y="1074762"/>
                  </a:lnTo>
                  <a:lnTo>
                    <a:pt x="2589517" y="1136827"/>
                  </a:lnTo>
                  <a:lnTo>
                    <a:pt x="2477198" y="1136827"/>
                  </a:lnTo>
                  <a:lnTo>
                    <a:pt x="2524595" y="1015441"/>
                  </a:lnTo>
                  <a:lnTo>
                    <a:pt x="2527833" y="1006348"/>
                  </a:lnTo>
                  <a:lnTo>
                    <a:pt x="2530932" y="996759"/>
                  </a:lnTo>
                  <a:lnTo>
                    <a:pt x="2533904" y="986688"/>
                  </a:lnTo>
                  <a:lnTo>
                    <a:pt x="2537523" y="997877"/>
                  </a:lnTo>
                  <a:lnTo>
                    <a:pt x="2540876" y="1007745"/>
                  </a:lnTo>
                  <a:lnTo>
                    <a:pt x="2543975" y="1016330"/>
                  </a:lnTo>
                  <a:lnTo>
                    <a:pt x="2546807" y="1023645"/>
                  </a:lnTo>
                  <a:lnTo>
                    <a:pt x="2589517" y="1136827"/>
                  </a:lnTo>
                  <a:lnTo>
                    <a:pt x="2589517" y="1074762"/>
                  </a:lnTo>
                  <a:lnTo>
                    <a:pt x="2554960" y="986688"/>
                  </a:lnTo>
                  <a:lnTo>
                    <a:pt x="2541409" y="952157"/>
                  </a:lnTo>
                  <a:lnTo>
                    <a:pt x="2527427" y="952157"/>
                  </a:lnTo>
                  <a:lnTo>
                    <a:pt x="2401176" y="1267396"/>
                  </a:lnTo>
                  <a:lnTo>
                    <a:pt x="2425458" y="1267396"/>
                  </a:lnTo>
                  <a:lnTo>
                    <a:pt x="2469248" y="1156563"/>
                  </a:lnTo>
                  <a:lnTo>
                    <a:pt x="2596807" y="1156563"/>
                  </a:lnTo>
                  <a:lnTo>
                    <a:pt x="2640419" y="1267396"/>
                  </a:lnTo>
                  <a:lnTo>
                    <a:pt x="2665107" y="1267396"/>
                  </a:lnTo>
                  <a:close/>
                </a:path>
                <a:path w="3615690" h="1275079">
                  <a:moveTo>
                    <a:pt x="2874759" y="651344"/>
                  </a:moveTo>
                  <a:lnTo>
                    <a:pt x="2872384" y="615149"/>
                  </a:lnTo>
                  <a:lnTo>
                    <a:pt x="2865221" y="583260"/>
                  </a:lnTo>
                  <a:lnTo>
                    <a:pt x="2853309" y="555701"/>
                  </a:lnTo>
                  <a:lnTo>
                    <a:pt x="2837853" y="534162"/>
                  </a:lnTo>
                  <a:lnTo>
                    <a:pt x="2836634" y="532460"/>
                  </a:lnTo>
                  <a:lnTo>
                    <a:pt x="2820352" y="518185"/>
                  </a:lnTo>
                  <a:lnTo>
                    <a:pt x="2820352" y="651344"/>
                  </a:lnTo>
                  <a:lnTo>
                    <a:pt x="2818904" y="678776"/>
                  </a:lnTo>
                  <a:lnTo>
                    <a:pt x="2807284" y="722795"/>
                  </a:lnTo>
                  <a:lnTo>
                    <a:pt x="2768257" y="761555"/>
                  </a:lnTo>
                  <a:lnTo>
                    <a:pt x="2728226" y="768972"/>
                  </a:lnTo>
                  <a:lnTo>
                    <a:pt x="2706700" y="767092"/>
                  </a:lnTo>
                  <a:lnTo>
                    <a:pt x="2659024" y="739063"/>
                  </a:lnTo>
                  <a:lnTo>
                    <a:pt x="2641511" y="702183"/>
                  </a:lnTo>
                  <a:lnTo>
                    <a:pt x="2635681" y="651344"/>
                  </a:lnTo>
                  <a:lnTo>
                    <a:pt x="2637155" y="624255"/>
                  </a:lnTo>
                  <a:lnTo>
                    <a:pt x="2648877" y="580567"/>
                  </a:lnTo>
                  <a:lnTo>
                    <a:pt x="2688247" y="541604"/>
                  </a:lnTo>
                  <a:lnTo>
                    <a:pt x="2728671" y="534162"/>
                  </a:lnTo>
                  <a:lnTo>
                    <a:pt x="2750058" y="536028"/>
                  </a:lnTo>
                  <a:lnTo>
                    <a:pt x="2797327" y="563930"/>
                  </a:lnTo>
                  <a:lnTo>
                    <a:pt x="2814599" y="600671"/>
                  </a:lnTo>
                  <a:lnTo>
                    <a:pt x="2820352" y="651344"/>
                  </a:lnTo>
                  <a:lnTo>
                    <a:pt x="2820352" y="518185"/>
                  </a:lnTo>
                  <a:lnTo>
                    <a:pt x="2815564" y="513981"/>
                  </a:lnTo>
                  <a:lnTo>
                    <a:pt x="2790558" y="500786"/>
                  </a:lnTo>
                  <a:lnTo>
                    <a:pt x="2761589" y="492874"/>
                  </a:lnTo>
                  <a:lnTo>
                    <a:pt x="2728671" y="490232"/>
                  </a:lnTo>
                  <a:lnTo>
                    <a:pt x="2695244" y="492836"/>
                  </a:lnTo>
                  <a:lnTo>
                    <a:pt x="2640660" y="513600"/>
                  </a:lnTo>
                  <a:lnTo>
                    <a:pt x="2602776" y="554812"/>
                  </a:lnTo>
                  <a:lnTo>
                    <a:pt x="2583662" y="614375"/>
                  </a:lnTo>
                  <a:lnTo>
                    <a:pt x="2581275" y="650887"/>
                  </a:lnTo>
                  <a:lnTo>
                    <a:pt x="2583650" y="687463"/>
                  </a:lnTo>
                  <a:lnTo>
                    <a:pt x="2602661" y="747280"/>
                  </a:lnTo>
                  <a:lnTo>
                    <a:pt x="2640355" y="788949"/>
                  </a:lnTo>
                  <a:lnTo>
                    <a:pt x="2694825" y="809993"/>
                  </a:lnTo>
                  <a:lnTo>
                    <a:pt x="2728226" y="812622"/>
                  </a:lnTo>
                  <a:lnTo>
                    <a:pt x="2761272" y="809980"/>
                  </a:lnTo>
                  <a:lnTo>
                    <a:pt x="2815437" y="788784"/>
                  </a:lnTo>
                  <a:lnTo>
                    <a:pt x="2853271" y="746887"/>
                  </a:lnTo>
                  <a:lnTo>
                    <a:pt x="2872371" y="687451"/>
                  </a:lnTo>
                  <a:lnTo>
                    <a:pt x="2874759" y="651344"/>
                  </a:lnTo>
                  <a:close/>
                </a:path>
                <a:path w="3615690" h="1275079">
                  <a:moveTo>
                    <a:pt x="2893428" y="953706"/>
                  </a:moveTo>
                  <a:lnTo>
                    <a:pt x="2667241" y="953706"/>
                  </a:lnTo>
                  <a:lnTo>
                    <a:pt x="2667241" y="974026"/>
                  </a:lnTo>
                  <a:lnTo>
                    <a:pt x="2769273" y="974026"/>
                  </a:lnTo>
                  <a:lnTo>
                    <a:pt x="2769273" y="1267396"/>
                  </a:lnTo>
                  <a:lnTo>
                    <a:pt x="2791396" y="1267396"/>
                  </a:lnTo>
                  <a:lnTo>
                    <a:pt x="2791396" y="974026"/>
                  </a:lnTo>
                  <a:lnTo>
                    <a:pt x="2893428" y="974026"/>
                  </a:lnTo>
                  <a:lnTo>
                    <a:pt x="2893428" y="953706"/>
                  </a:lnTo>
                  <a:close/>
                </a:path>
                <a:path w="3615690" h="1275079">
                  <a:moveTo>
                    <a:pt x="2942539" y="22707"/>
                  </a:moveTo>
                  <a:lnTo>
                    <a:pt x="2918536" y="12776"/>
                  </a:lnTo>
                  <a:lnTo>
                    <a:pt x="2893974" y="5689"/>
                  </a:lnTo>
                  <a:lnTo>
                    <a:pt x="2868853" y="1422"/>
                  </a:lnTo>
                  <a:lnTo>
                    <a:pt x="2843161" y="0"/>
                  </a:lnTo>
                  <a:lnTo>
                    <a:pt x="2820136" y="1270"/>
                  </a:lnTo>
                  <a:lnTo>
                    <a:pt x="2778722" y="11468"/>
                  </a:lnTo>
                  <a:lnTo>
                    <a:pt x="2743746" y="31699"/>
                  </a:lnTo>
                  <a:lnTo>
                    <a:pt x="2716746" y="60871"/>
                  </a:lnTo>
                  <a:lnTo>
                    <a:pt x="2698140" y="98437"/>
                  </a:lnTo>
                  <a:lnTo>
                    <a:pt x="2688767" y="142417"/>
                  </a:lnTo>
                  <a:lnTo>
                    <a:pt x="2687586" y="166674"/>
                  </a:lnTo>
                  <a:lnTo>
                    <a:pt x="2690012" y="204355"/>
                  </a:lnTo>
                  <a:lnTo>
                    <a:pt x="2709367" y="265544"/>
                  </a:lnTo>
                  <a:lnTo>
                    <a:pt x="2747784" y="307594"/>
                  </a:lnTo>
                  <a:lnTo>
                    <a:pt x="2803474" y="328739"/>
                  </a:lnTo>
                  <a:lnTo>
                    <a:pt x="2837675" y="331381"/>
                  </a:lnTo>
                  <a:lnTo>
                    <a:pt x="2862351" y="330276"/>
                  </a:lnTo>
                  <a:lnTo>
                    <a:pt x="2907741" y="321348"/>
                  </a:lnTo>
                  <a:lnTo>
                    <a:pt x="2928467" y="239877"/>
                  </a:lnTo>
                  <a:lnTo>
                    <a:pt x="2918396" y="243941"/>
                  </a:lnTo>
                  <a:lnTo>
                    <a:pt x="2908363" y="247675"/>
                  </a:lnTo>
                  <a:lnTo>
                    <a:pt x="2868053" y="258673"/>
                  </a:lnTo>
                  <a:lnTo>
                    <a:pt x="2847073" y="260159"/>
                  </a:lnTo>
                  <a:lnTo>
                    <a:pt x="2816263" y="254355"/>
                  </a:lnTo>
                  <a:lnTo>
                    <a:pt x="2794266" y="236918"/>
                  </a:lnTo>
                  <a:lnTo>
                    <a:pt x="2781071" y="207835"/>
                  </a:lnTo>
                  <a:lnTo>
                    <a:pt x="2776664" y="167132"/>
                  </a:lnTo>
                  <a:lnTo>
                    <a:pt x="2777756" y="145948"/>
                  </a:lnTo>
                  <a:lnTo>
                    <a:pt x="2793974" y="96901"/>
                  </a:lnTo>
                  <a:lnTo>
                    <a:pt x="2827642" y="73037"/>
                  </a:lnTo>
                  <a:lnTo>
                    <a:pt x="2842272" y="71450"/>
                  </a:lnTo>
                  <a:lnTo>
                    <a:pt x="2852293" y="71805"/>
                  </a:lnTo>
                  <a:lnTo>
                    <a:pt x="2898203" y="83553"/>
                  </a:lnTo>
                  <a:lnTo>
                    <a:pt x="2916009" y="91274"/>
                  </a:lnTo>
                  <a:lnTo>
                    <a:pt x="2942539" y="22707"/>
                  </a:lnTo>
                  <a:close/>
                </a:path>
                <a:path w="3615690" h="1275079">
                  <a:moveTo>
                    <a:pt x="2961932" y="953401"/>
                  </a:moveTo>
                  <a:lnTo>
                    <a:pt x="2940037" y="953401"/>
                  </a:lnTo>
                  <a:lnTo>
                    <a:pt x="2940037" y="1267396"/>
                  </a:lnTo>
                  <a:lnTo>
                    <a:pt x="2961932" y="1267396"/>
                  </a:lnTo>
                  <a:lnTo>
                    <a:pt x="2961932" y="953401"/>
                  </a:lnTo>
                  <a:close/>
                </a:path>
                <a:path w="3615690" h="1275079">
                  <a:moveTo>
                    <a:pt x="3181439" y="4419"/>
                  </a:moveTo>
                  <a:lnTo>
                    <a:pt x="2991015" y="4419"/>
                  </a:lnTo>
                  <a:lnTo>
                    <a:pt x="2991015" y="74269"/>
                  </a:lnTo>
                  <a:lnTo>
                    <a:pt x="2991015" y="125069"/>
                  </a:lnTo>
                  <a:lnTo>
                    <a:pt x="2991015" y="194919"/>
                  </a:lnTo>
                  <a:lnTo>
                    <a:pt x="2991015" y="255879"/>
                  </a:lnTo>
                  <a:lnTo>
                    <a:pt x="2991015" y="326999"/>
                  </a:lnTo>
                  <a:lnTo>
                    <a:pt x="3181439" y="326999"/>
                  </a:lnTo>
                  <a:lnTo>
                    <a:pt x="3181439" y="255879"/>
                  </a:lnTo>
                  <a:lnTo>
                    <a:pt x="3077667" y="255879"/>
                  </a:lnTo>
                  <a:lnTo>
                    <a:pt x="3077667" y="194919"/>
                  </a:lnTo>
                  <a:lnTo>
                    <a:pt x="3173755" y="194919"/>
                  </a:lnTo>
                  <a:lnTo>
                    <a:pt x="3173755" y="125069"/>
                  </a:lnTo>
                  <a:lnTo>
                    <a:pt x="3077667" y="125069"/>
                  </a:lnTo>
                  <a:lnTo>
                    <a:pt x="3077667" y="74269"/>
                  </a:lnTo>
                  <a:lnTo>
                    <a:pt x="3181439" y="74269"/>
                  </a:lnTo>
                  <a:lnTo>
                    <a:pt x="3181439" y="4419"/>
                  </a:lnTo>
                  <a:close/>
                </a:path>
                <a:path w="3615690" h="1275079">
                  <a:moveTo>
                    <a:pt x="3187560" y="495160"/>
                  </a:moveTo>
                  <a:lnTo>
                    <a:pt x="3136341" y="495160"/>
                  </a:lnTo>
                  <a:lnTo>
                    <a:pt x="3136341" y="692912"/>
                  </a:lnTo>
                  <a:lnTo>
                    <a:pt x="3131820" y="726173"/>
                  </a:lnTo>
                  <a:lnTo>
                    <a:pt x="3118243" y="749935"/>
                  </a:lnTo>
                  <a:lnTo>
                    <a:pt x="3095612" y="764197"/>
                  </a:lnTo>
                  <a:lnTo>
                    <a:pt x="3063951" y="768946"/>
                  </a:lnTo>
                  <a:lnTo>
                    <a:pt x="3046501" y="767791"/>
                  </a:lnTo>
                  <a:lnTo>
                    <a:pt x="3008680" y="750506"/>
                  </a:lnTo>
                  <a:lnTo>
                    <a:pt x="2991777" y="711428"/>
                  </a:lnTo>
                  <a:lnTo>
                    <a:pt x="2990646" y="693318"/>
                  </a:lnTo>
                  <a:lnTo>
                    <a:pt x="2990646" y="495160"/>
                  </a:lnTo>
                  <a:lnTo>
                    <a:pt x="2939262" y="495160"/>
                  </a:lnTo>
                  <a:lnTo>
                    <a:pt x="2939262" y="696950"/>
                  </a:lnTo>
                  <a:lnTo>
                    <a:pt x="2941282" y="722503"/>
                  </a:lnTo>
                  <a:lnTo>
                    <a:pt x="2957449" y="764933"/>
                  </a:lnTo>
                  <a:lnTo>
                    <a:pt x="2989402" y="795299"/>
                  </a:lnTo>
                  <a:lnTo>
                    <a:pt x="3034728" y="810717"/>
                  </a:lnTo>
                  <a:lnTo>
                    <a:pt x="3062236" y="812660"/>
                  </a:lnTo>
                  <a:lnTo>
                    <a:pt x="3081147" y="811771"/>
                  </a:lnTo>
                  <a:lnTo>
                    <a:pt x="3129597" y="798626"/>
                  </a:lnTo>
                  <a:lnTo>
                    <a:pt x="3164395" y="770826"/>
                  </a:lnTo>
                  <a:lnTo>
                    <a:pt x="3183826" y="730364"/>
                  </a:lnTo>
                  <a:lnTo>
                    <a:pt x="3187560" y="697814"/>
                  </a:lnTo>
                  <a:lnTo>
                    <a:pt x="3187560" y="495160"/>
                  </a:lnTo>
                  <a:close/>
                </a:path>
                <a:path w="3615690" h="1275079">
                  <a:moveTo>
                    <a:pt x="3314763" y="1109967"/>
                  </a:moveTo>
                  <a:lnTo>
                    <a:pt x="3312439" y="1074470"/>
                  </a:lnTo>
                  <a:lnTo>
                    <a:pt x="3305479" y="1042936"/>
                  </a:lnTo>
                  <a:lnTo>
                    <a:pt x="3293872" y="1015365"/>
                  </a:lnTo>
                  <a:lnTo>
                    <a:pt x="3290925" y="1011097"/>
                  </a:lnTo>
                  <a:lnTo>
                    <a:pt x="3290925" y="1109967"/>
                  </a:lnTo>
                  <a:lnTo>
                    <a:pt x="3289058" y="1142034"/>
                  </a:lnTo>
                  <a:lnTo>
                    <a:pt x="3274085" y="1194333"/>
                  </a:lnTo>
                  <a:lnTo>
                    <a:pt x="3244329" y="1230541"/>
                  </a:lnTo>
                  <a:lnTo>
                    <a:pt x="3200997" y="1248791"/>
                  </a:lnTo>
                  <a:lnTo>
                    <a:pt x="3174339" y="1251064"/>
                  </a:lnTo>
                  <a:lnTo>
                    <a:pt x="3147822" y="1248765"/>
                  </a:lnTo>
                  <a:lnTo>
                    <a:pt x="3104654" y="1230350"/>
                  </a:lnTo>
                  <a:lnTo>
                    <a:pt x="3074847" y="1193914"/>
                  </a:lnTo>
                  <a:lnTo>
                    <a:pt x="3059798" y="1141780"/>
                  </a:lnTo>
                  <a:lnTo>
                    <a:pt x="3057918" y="1109967"/>
                  </a:lnTo>
                  <a:lnTo>
                    <a:pt x="3059823" y="1078268"/>
                  </a:lnTo>
                  <a:lnTo>
                    <a:pt x="3075013" y="1026401"/>
                  </a:lnTo>
                  <a:lnTo>
                    <a:pt x="3105099" y="990269"/>
                  </a:lnTo>
                  <a:lnTo>
                    <a:pt x="3148317" y="972007"/>
                  </a:lnTo>
                  <a:lnTo>
                    <a:pt x="3174746" y="969721"/>
                  </a:lnTo>
                  <a:lnTo>
                    <a:pt x="3201225" y="971981"/>
                  </a:lnTo>
                  <a:lnTo>
                    <a:pt x="3244354" y="990079"/>
                  </a:lnTo>
                  <a:lnTo>
                    <a:pt x="3274085" y="1026007"/>
                  </a:lnTo>
                  <a:lnTo>
                    <a:pt x="3289058" y="1078026"/>
                  </a:lnTo>
                  <a:lnTo>
                    <a:pt x="3290925" y="1109967"/>
                  </a:lnTo>
                  <a:lnTo>
                    <a:pt x="3290925" y="1011097"/>
                  </a:lnTo>
                  <a:lnTo>
                    <a:pt x="3257258" y="972820"/>
                  </a:lnTo>
                  <a:lnTo>
                    <a:pt x="3205835" y="951166"/>
                  </a:lnTo>
                  <a:lnTo>
                    <a:pt x="3174746" y="948461"/>
                  </a:lnTo>
                  <a:lnTo>
                    <a:pt x="3143796" y="951166"/>
                  </a:lnTo>
                  <a:lnTo>
                    <a:pt x="3092348" y="972693"/>
                  </a:lnTo>
                  <a:lnTo>
                    <a:pt x="3055277" y="1015047"/>
                  </a:lnTo>
                  <a:lnTo>
                    <a:pt x="3036443" y="1074039"/>
                  </a:lnTo>
                  <a:lnTo>
                    <a:pt x="3034093" y="1109522"/>
                  </a:lnTo>
                  <a:lnTo>
                    <a:pt x="3036430" y="1145133"/>
                  </a:lnTo>
                  <a:lnTo>
                    <a:pt x="3055124" y="1204480"/>
                  </a:lnTo>
                  <a:lnTo>
                    <a:pt x="3091891" y="1247216"/>
                  </a:lnTo>
                  <a:lnTo>
                    <a:pt x="3143326" y="1268945"/>
                  </a:lnTo>
                  <a:lnTo>
                    <a:pt x="3174339" y="1271663"/>
                  </a:lnTo>
                  <a:lnTo>
                    <a:pt x="3205416" y="1268945"/>
                  </a:lnTo>
                  <a:lnTo>
                    <a:pt x="3232950" y="1260805"/>
                  </a:lnTo>
                  <a:lnTo>
                    <a:pt x="3250146" y="1251064"/>
                  </a:lnTo>
                  <a:lnTo>
                    <a:pt x="3256940" y="1247216"/>
                  </a:lnTo>
                  <a:lnTo>
                    <a:pt x="3277387" y="1228191"/>
                  </a:lnTo>
                  <a:lnTo>
                    <a:pt x="3293745" y="1204455"/>
                  </a:lnTo>
                  <a:lnTo>
                    <a:pt x="3305416" y="1176883"/>
                  </a:lnTo>
                  <a:lnTo>
                    <a:pt x="3312426" y="1145374"/>
                  </a:lnTo>
                  <a:lnTo>
                    <a:pt x="3314763" y="1109967"/>
                  </a:lnTo>
                  <a:close/>
                </a:path>
                <a:path w="3615690" h="1275079">
                  <a:moveTo>
                    <a:pt x="3468001" y="494665"/>
                  </a:moveTo>
                  <a:lnTo>
                    <a:pt x="3232518" y="494665"/>
                  </a:lnTo>
                  <a:lnTo>
                    <a:pt x="3232518" y="539115"/>
                  </a:lnTo>
                  <a:lnTo>
                    <a:pt x="3324656" y="539115"/>
                  </a:lnTo>
                  <a:lnTo>
                    <a:pt x="3324656" y="808355"/>
                  </a:lnTo>
                  <a:lnTo>
                    <a:pt x="3375863" y="808355"/>
                  </a:lnTo>
                  <a:lnTo>
                    <a:pt x="3375863" y="539115"/>
                  </a:lnTo>
                  <a:lnTo>
                    <a:pt x="3468001" y="539115"/>
                  </a:lnTo>
                  <a:lnTo>
                    <a:pt x="3468001" y="494665"/>
                  </a:lnTo>
                  <a:close/>
                </a:path>
                <a:path w="3615690" h="1275079">
                  <a:moveTo>
                    <a:pt x="3615232" y="953401"/>
                  </a:moveTo>
                  <a:lnTo>
                    <a:pt x="3593960" y="953401"/>
                  </a:lnTo>
                  <a:lnTo>
                    <a:pt x="3593960" y="1158316"/>
                  </a:lnTo>
                  <a:lnTo>
                    <a:pt x="3594074" y="1175931"/>
                  </a:lnTo>
                  <a:lnTo>
                    <a:pt x="3594443" y="1194054"/>
                  </a:lnTo>
                  <a:lnTo>
                    <a:pt x="3595039" y="1212659"/>
                  </a:lnTo>
                  <a:lnTo>
                    <a:pt x="3595890" y="1231747"/>
                  </a:lnTo>
                  <a:lnTo>
                    <a:pt x="3594595" y="1231747"/>
                  </a:lnTo>
                  <a:lnTo>
                    <a:pt x="3408832" y="953401"/>
                  </a:lnTo>
                  <a:lnTo>
                    <a:pt x="3386937" y="953401"/>
                  </a:lnTo>
                  <a:lnTo>
                    <a:pt x="3386937" y="1267396"/>
                  </a:lnTo>
                  <a:lnTo>
                    <a:pt x="3407981" y="1267396"/>
                  </a:lnTo>
                  <a:lnTo>
                    <a:pt x="3407981" y="1063802"/>
                  </a:lnTo>
                  <a:lnTo>
                    <a:pt x="3407829" y="1049591"/>
                  </a:lnTo>
                  <a:lnTo>
                    <a:pt x="3407346" y="1032332"/>
                  </a:lnTo>
                  <a:lnTo>
                    <a:pt x="3405416" y="988618"/>
                  </a:lnTo>
                  <a:lnTo>
                    <a:pt x="3407130" y="988618"/>
                  </a:lnTo>
                  <a:lnTo>
                    <a:pt x="3593096" y="1267396"/>
                  </a:lnTo>
                  <a:lnTo>
                    <a:pt x="3615232" y="1267396"/>
                  </a:lnTo>
                  <a:lnTo>
                    <a:pt x="3615232" y="953401"/>
                  </a:lnTo>
                  <a:close/>
                </a:path>
              </a:pathLst>
            </a:custGeom>
            <a:solidFill>
              <a:srgbClr val="FFFFFF"/>
            </a:solidFill>
          </p:spPr>
          <p:txBody>
            <a:bodyPr wrap="square" lIns="0" tIns="0" rIns="0" bIns="0" rtlCol="0"/>
            <a:lstStyle/>
            <a:p>
              <a:endParaRPr lang="en-US" sz="960" dirty="0"/>
            </a:p>
          </p:txBody>
        </p:sp>
        <p:sp>
          <p:nvSpPr>
            <p:cNvPr id="5" name="object 5"/>
            <p:cNvSpPr/>
            <p:nvPr/>
          </p:nvSpPr>
          <p:spPr>
            <a:xfrm>
              <a:off x="13553144" y="6463025"/>
              <a:ext cx="4981575" cy="4914265"/>
            </a:xfrm>
            <a:custGeom>
              <a:avLst/>
              <a:gdLst/>
              <a:ahLst/>
              <a:cxnLst/>
              <a:rect l="l" t="t" r="r" b="b"/>
              <a:pathLst>
                <a:path w="4981575" h="4914265">
                  <a:moveTo>
                    <a:pt x="4981387" y="2423413"/>
                  </a:moveTo>
                  <a:lnTo>
                    <a:pt x="4981387" y="0"/>
                  </a:lnTo>
                  <a:lnTo>
                    <a:pt x="4355448" y="0"/>
                  </a:lnTo>
                  <a:lnTo>
                    <a:pt x="4355448" y="2423413"/>
                  </a:lnTo>
                  <a:lnTo>
                    <a:pt x="4355448" y="2424994"/>
                  </a:lnTo>
                  <a:lnTo>
                    <a:pt x="4355186" y="2426512"/>
                  </a:lnTo>
                  <a:lnTo>
                    <a:pt x="4355176" y="2428093"/>
                  </a:lnTo>
                  <a:lnTo>
                    <a:pt x="4355176" y="2428271"/>
                  </a:lnTo>
                  <a:lnTo>
                    <a:pt x="4355207" y="2428449"/>
                  </a:lnTo>
                  <a:lnTo>
                    <a:pt x="4355207" y="2428638"/>
                  </a:lnTo>
                  <a:lnTo>
                    <a:pt x="4354412" y="2480420"/>
                  </a:lnTo>
                  <a:lnTo>
                    <a:pt x="4352116" y="2531820"/>
                  </a:lnTo>
                  <a:lnTo>
                    <a:pt x="4348449" y="2582855"/>
                  </a:lnTo>
                  <a:lnTo>
                    <a:pt x="4343543" y="2633542"/>
                  </a:lnTo>
                  <a:lnTo>
                    <a:pt x="4342171" y="2641647"/>
                  </a:lnTo>
                  <a:lnTo>
                    <a:pt x="4341679" y="2645772"/>
                  </a:lnTo>
                  <a:lnTo>
                    <a:pt x="4335514" y="2693859"/>
                  </a:lnTo>
                  <a:lnTo>
                    <a:pt x="4328148" y="2741558"/>
                  </a:lnTo>
                  <a:lnTo>
                    <a:pt x="4319598" y="2788854"/>
                  </a:lnTo>
                  <a:lnTo>
                    <a:pt x="4309877" y="2835731"/>
                  </a:lnTo>
                  <a:lnTo>
                    <a:pt x="4299003" y="2882172"/>
                  </a:lnTo>
                  <a:lnTo>
                    <a:pt x="4286991" y="2928163"/>
                  </a:lnTo>
                  <a:lnTo>
                    <a:pt x="4273857" y="2973686"/>
                  </a:lnTo>
                  <a:lnTo>
                    <a:pt x="4259616" y="3018726"/>
                  </a:lnTo>
                  <a:lnTo>
                    <a:pt x="4244285" y="3063268"/>
                  </a:lnTo>
                  <a:lnTo>
                    <a:pt x="4227879" y="3107295"/>
                  </a:lnTo>
                  <a:lnTo>
                    <a:pt x="4210413" y="3150792"/>
                  </a:lnTo>
                  <a:lnTo>
                    <a:pt x="4191904" y="3193742"/>
                  </a:lnTo>
                  <a:lnTo>
                    <a:pt x="4172368" y="3236130"/>
                  </a:lnTo>
                  <a:lnTo>
                    <a:pt x="4151819" y="3277940"/>
                  </a:lnTo>
                  <a:lnTo>
                    <a:pt x="4130274" y="3319156"/>
                  </a:lnTo>
                  <a:lnTo>
                    <a:pt x="4107749" y="3359761"/>
                  </a:lnTo>
                  <a:lnTo>
                    <a:pt x="4084260" y="3399742"/>
                  </a:lnTo>
                  <a:lnTo>
                    <a:pt x="4059821" y="3439080"/>
                  </a:lnTo>
                  <a:lnTo>
                    <a:pt x="4034449" y="3477761"/>
                  </a:lnTo>
                  <a:lnTo>
                    <a:pt x="4008160" y="3515768"/>
                  </a:lnTo>
                  <a:lnTo>
                    <a:pt x="3980969" y="3553086"/>
                  </a:lnTo>
                  <a:lnTo>
                    <a:pt x="3952893" y="3589698"/>
                  </a:lnTo>
                  <a:lnTo>
                    <a:pt x="3923946" y="3625590"/>
                  </a:lnTo>
                  <a:lnTo>
                    <a:pt x="3894144" y="3660744"/>
                  </a:lnTo>
                  <a:lnTo>
                    <a:pt x="3863505" y="3695146"/>
                  </a:lnTo>
                  <a:lnTo>
                    <a:pt x="3832042" y="3728779"/>
                  </a:lnTo>
                  <a:lnTo>
                    <a:pt x="3799772" y="3761627"/>
                  </a:lnTo>
                  <a:lnTo>
                    <a:pt x="3766711" y="3793674"/>
                  </a:lnTo>
                  <a:lnTo>
                    <a:pt x="3732874" y="3824905"/>
                  </a:lnTo>
                  <a:lnTo>
                    <a:pt x="3698277" y="3855304"/>
                  </a:lnTo>
                  <a:lnTo>
                    <a:pt x="3662937" y="3884855"/>
                  </a:lnTo>
                  <a:lnTo>
                    <a:pt x="3626868" y="3913541"/>
                  </a:lnTo>
                  <a:lnTo>
                    <a:pt x="3590086" y="3941347"/>
                  </a:lnTo>
                  <a:lnTo>
                    <a:pt x="3552607" y="3968258"/>
                  </a:lnTo>
                  <a:lnTo>
                    <a:pt x="3514448" y="3994257"/>
                  </a:lnTo>
                  <a:lnTo>
                    <a:pt x="3475623" y="4019328"/>
                  </a:lnTo>
                  <a:lnTo>
                    <a:pt x="3436148" y="4043456"/>
                  </a:lnTo>
                  <a:lnTo>
                    <a:pt x="3396040" y="4066624"/>
                  </a:lnTo>
                  <a:lnTo>
                    <a:pt x="3355314" y="4088817"/>
                  </a:lnTo>
                  <a:lnTo>
                    <a:pt x="3313985" y="4110019"/>
                  </a:lnTo>
                  <a:lnTo>
                    <a:pt x="3272070" y="4130213"/>
                  </a:lnTo>
                  <a:lnTo>
                    <a:pt x="3229584" y="4149385"/>
                  </a:lnTo>
                  <a:lnTo>
                    <a:pt x="3186543" y="4167518"/>
                  </a:lnTo>
                  <a:lnTo>
                    <a:pt x="3142962" y="4184596"/>
                  </a:lnTo>
                  <a:lnTo>
                    <a:pt x="3098858" y="4200603"/>
                  </a:lnTo>
                  <a:lnTo>
                    <a:pt x="3054247" y="4215524"/>
                  </a:lnTo>
                  <a:lnTo>
                    <a:pt x="3009143" y="4229343"/>
                  </a:lnTo>
                  <a:lnTo>
                    <a:pt x="2963563" y="4242043"/>
                  </a:lnTo>
                  <a:lnTo>
                    <a:pt x="2917522" y="4253609"/>
                  </a:lnTo>
                  <a:lnTo>
                    <a:pt x="2871037" y="4264025"/>
                  </a:lnTo>
                  <a:lnTo>
                    <a:pt x="2824123" y="4273276"/>
                  </a:lnTo>
                  <a:lnTo>
                    <a:pt x="2776795" y="4281344"/>
                  </a:lnTo>
                  <a:lnTo>
                    <a:pt x="2729070" y="4288215"/>
                  </a:lnTo>
                  <a:lnTo>
                    <a:pt x="2680963" y="4293872"/>
                  </a:lnTo>
                  <a:lnTo>
                    <a:pt x="2632491" y="4298299"/>
                  </a:lnTo>
                  <a:lnTo>
                    <a:pt x="2583668" y="4301482"/>
                  </a:lnTo>
                  <a:lnTo>
                    <a:pt x="2534510" y="4303403"/>
                  </a:lnTo>
                  <a:lnTo>
                    <a:pt x="2485034" y="4304046"/>
                  </a:lnTo>
                  <a:lnTo>
                    <a:pt x="2436764" y="4303434"/>
                  </a:lnTo>
                  <a:lnTo>
                    <a:pt x="2388796" y="4301606"/>
                  </a:lnTo>
                  <a:lnTo>
                    <a:pt x="2341143" y="4298578"/>
                  </a:lnTo>
                  <a:lnTo>
                    <a:pt x="2293821" y="4294364"/>
                  </a:lnTo>
                  <a:lnTo>
                    <a:pt x="2246844" y="4288979"/>
                  </a:lnTo>
                  <a:lnTo>
                    <a:pt x="2200227" y="4282438"/>
                  </a:lnTo>
                  <a:lnTo>
                    <a:pt x="2153985" y="4274755"/>
                  </a:lnTo>
                  <a:lnTo>
                    <a:pt x="2108132" y="4265945"/>
                  </a:lnTo>
                  <a:lnTo>
                    <a:pt x="2062683" y="4256023"/>
                  </a:lnTo>
                  <a:lnTo>
                    <a:pt x="2017652" y="4245004"/>
                  </a:lnTo>
                  <a:lnTo>
                    <a:pt x="1973055" y="4232902"/>
                  </a:lnTo>
                  <a:lnTo>
                    <a:pt x="1928906" y="4219732"/>
                  </a:lnTo>
                  <a:lnTo>
                    <a:pt x="1885220" y="4205509"/>
                  </a:lnTo>
                  <a:lnTo>
                    <a:pt x="1842011" y="4190247"/>
                  </a:lnTo>
                  <a:lnTo>
                    <a:pt x="1799294" y="4173962"/>
                  </a:lnTo>
                  <a:lnTo>
                    <a:pt x="1757084" y="4156667"/>
                  </a:lnTo>
                  <a:lnTo>
                    <a:pt x="1715395" y="4138379"/>
                  </a:lnTo>
                  <a:lnTo>
                    <a:pt x="1674242" y="4119111"/>
                  </a:lnTo>
                  <a:lnTo>
                    <a:pt x="1633641" y="4098878"/>
                  </a:lnTo>
                  <a:lnTo>
                    <a:pt x="1593605" y="4077695"/>
                  </a:lnTo>
                  <a:lnTo>
                    <a:pt x="1554149" y="4055576"/>
                  </a:lnTo>
                  <a:lnTo>
                    <a:pt x="1515288" y="4032537"/>
                  </a:lnTo>
                  <a:lnTo>
                    <a:pt x="1477037" y="4008592"/>
                  </a:lnTo>
                  <a:lnTo>
                    <a:pt x="1439410" y="3983756"/>
                  </a:lnTo>
                  <a:lnTo>
                    <a:pt x="1402422" y="3958043"/>
                  </a:lnTo>
                  <a:lnTo>
                    <a:pt x="1366087" y="3931469"/>
                  </a:lnTo>
                  <a:lnTo>
                    <a:pt x="1330421" y="3904048"/>
                  </a:lnTo>
                  <a:lnTo>
                    <a:pt x="1295438" y="3875794"/>
                  </a:lnTo>
                  <a:lnTo>
                    <a:pt x="1261153" y="3846723"/>
                  </a:lnTo>
                  <a:lnTo>
                    <a:pt x="1227580" y="3816849"/>
                  </a:lnTo>
                  <a:lnTo>
                    <a:pt x="1194734" y="3786187"/>
                  </a:lnTo>
                  <a:lnTo>
                    <a:pt x="1162630" y="3754752"/>
                  </a:lnTo>
                  <a:lnTo>
                    <a:pt x="1131283" y="3722558"/>
                  </a:lnTo>
                  <a:lnTo>
                    <a:pt x="1100707" y="3689620"/>
                  </a:lnTo>
                  <a:lnTo>
                    <a:pt x="1070916" y="3655953"/>
                  </a:lnTo>
                  <a:lnTo>
                    <a:pt x="1041926" y="3621572"/>
                  </a:lnTo>
                  <a:lnTo>
                    <a:pt x="1013752" y="3586490"/>
                  </a:lnTo>
                  <a:lnTo>
                    <a:pt x="986407" y="3550724"/>
                  </a:lnTo>
                  <a:lnTo>
                    <a:pt x="959907" y="3514288"/>
                  </a:lnTo>
                  <a:lnTo>
                    <a:pt x="934266" y="3477196"/>
                  </a:lnTo>
                  <a:lnTo>
                    <a:pt x="909500" y="3439464"/>
                  </a:lnTo>
                  <a:lnTo>
                    <a:pt x="885621" y="3401105"/>
                  </a:lnTo>
                  <a:lnTo>
                    <a:pt x="862647" y="3362135"/>
                  </a:lnTo>
                  <a:lnTo>
                    <a:pt x="840590" y="3322569"/>
                  </a:lnTo>
                  <a:lnTo>
                    <a:pt x="819466" y="3282420"/>
                  </a:lnTo>
                  <a:lnTo>
                    <a:pt x="799290" y="3241705"/>
                  </a:lnTo>
                  <a:lnTo>
                    <a:pt x="780076" y="3200437"/>
                  </a:lnTo>
                  <a:lnTo>
                    <a:pt x="761838" y="3158631"/>
                  </a:lnTo>
                  <a:lnTo>
                    <a:pt x="744592" y="3116303"/>
                  </a:lnTo>
                  <a:lnTo>
                    <a:pt x="728352" y="3073466"/>
                  </a:lnTo>
                  <a:lnTo>
                    <a:pt x="713133" y="3030136"/>
                  </a:lnTo>
                  <a:lnTo>
                    <a:pt x="698950" y="2986327"/>
                  </a:lnTo>
                  <a:lnTo>
                    <a:pt x="685817" y="2942054"/>
                  </a:lnTo>
                  <a:lnTo>
                    <a:pt x="673749" y="2897331"/>
                  </a:lnTo>
                  <a:lnTo>
                    <a:pt x="662760" y="2852174"/>
                  </a:lnTo>
                  <a:lnTo>
                    <a:pt x="652866" y="2806598"/>
                  </a:lnTo>
                  <a:lnTo>
                    <a:pt x="644081" y="2760616"/>
                  </a:lnTo>
                  <a:lnTo>
                    <a:pt x="636419" y="2714244"/>
                  </a:lnTo>
                  <a:lnTo>
                    <a:pt x="629896" y="2667496"/>
                  </a:lnTo>
                  <a:lnTo>
                    <a:pt x="624526" y="2620387"/>
                  </a:lnTo>
                  <a:lnTo>
                    <a:pt x="620324" y="2572932"/>
                  </a:lnTo>
                  <a:lnTo>
                    <a:pt x="617304" y="2525146"/>
                  </a:lnTo>
                  <a:lnTo>
                    <a:pt x="615482" y="2477043"/>
                  </a:lnTo>
                  <a:lnTo>
                    <a:pt x="614871" y="2428638"/>
                  </a:lnTo>
                  <a:lnTo>
                    <a:pt x="615459" y="2398995"/>
                  </a:lnTo>
                  <a:lnTo>
                    <a:pt x="616934" y="2369580"/>
                  </a:lnTo>
                  <a:lnTo>
                    <a:pt x="618864" y="2340282"/>
                  </a:lnTo>
                  <a:lnTo>
                    <a:pt x="620818" y="2310987"/>
                  </a:lnTo>
                  <a:lnTo>
                    <a:pt x="0" y="2310987"/>
                  </a:lnTo>
                  <a:lnTo>
                    <a:pt x="0" y="2423413"/>
                  </a:lnTo>
                  <a:lnTo>
                    <a:pt x="462" y="2471774"/>
                  </a:lnTo>
                  <a:lnTo>
                    <a:pt x="1844" y="2519914"/>
                  </a:lnTo>
                  <a:lnTo>
                    <a:pt x="4137" y="2567825"/>
                  </a:lnTo>
                  <a:lnTo>
                    <a:pt x="7333" y="2615498"/>
                  </a:lnTo>
                  <a:lnTo>
                    <a:pt x="11422" y="2662925"/>
                  </a:lnTo>
                  <a:lnTo>
                    <a:pt x="16398" y="2710098"/>
                  </a:lnTo>
                  <a:lnTo>
                    <a:pt x="22251" y="2757007"/>
                  </a:lnTo>
                  <a:lnTo>
                    <a:pt x="28973" y="2803646"/>
                  </a:lnTo>
                  <a:lnTo>
                    <a:pt x="36555" y="2850004"/>
                  </a:lnTo>
                  <a:lnTo>
                    <a:pt x="44990" y="2896075"/>
                  </a:lnTo>
                  <a:lnTo>
                    <a:pt x="54268" y="2941848"/>
                  </a:lnTo>
                  <a:lnTo>
                    <a:pt x="64382" y="2987317"/>
                  </a:lnTo>
                  <a:lnTo>
                    <a:pt x="75322" y="3032472"/>
                  </a:lnTo>
                  <a:lnTo>
                    <a:pt x="87081" y="3077306"/>
                  </a:lnTo>
                  <a:lnTo>
                    <a:pt x="99650" y="3121809"/>
                  </a:lnTo>
                  <a:lnTo>
                    <a:pt x="113021" y="3165973"/>
                  </a:lnTo>
                  <a:lnTo>
                    <a:pt x="127185" y="3209790"/>
                  </a:lnTo>
                  <a:lnTo>
                    <a:pt x="142133" y="3253252"/>
                  </a:lnTo>
                  <a:lnTo>
                    <a:pt x="157858" y="3296350"/>
                  </a:lnTo>
                  <a:lnTo>
                    <a:pt x="174351" y="3339075"/>
                  </a:lnTo>
                  <a:lnTo>
                    <a:pt x="191604" y="3381420"/>
                  </a:lnTo>
                  <a:lnTo>
                    <a:pt x="209607" y="3423375"/>
                  </a:lnTo>
                  <a:lnTo>
                    <a:pt x="228354" y="3464933"/>
                  </a:lnTo>
                  <a:lnTo>
                    <a:pt x="247835" y="3506085"/>
                  </a:lnTo>
                  <a:lnTo>
                    <a:pt x="268041" y="3546822"/>
                  </a:lnTo>
                  <a:lnTo>
                    <a:pt x="288965" y="3587136"/>
                  </a:lnTo>
                  <a:lnTo>
                    <a:pt x="310599" y="3627019"/>
                  </a:lnTo>
                  <a:lnTo>
                    <a:pt x="332932" y="3666463"/>
                  </a:lnTo>
                  <a:lnTo>
                    <a:pt x="355959" y="3705458"/>
                  </a:lnTo>
                  <a:lnTo>
                    <a:pt x="379668" y="3743996"/>
                  </a:lnTo>
                  <a:lnTo>
                    <a:pt x="404054" y="3782070"/>
                  </a:lnTo>
                  <a:lnTo>
                    <a:pt x="429106" y="3819670"/>
                  </a:lnTo>
                  <a:lnTo>
                    <a:pt x="454817" y="3856789"/>
                  </a:lnTo>
                  <a:lnTo>
                    <a:pt x="481178" y="3893417"/>
                  </a:lnTo>
                  <a:lnTo>
                    <a:pt x="508181" y="3929546"/>
                  </a:lnTo>
                  <a:lnTo>
                    <a:pt x="535817" y="3965169"/>
                  </a:lnTo>
                  <a:lnTo>
                    <a:pt x="564078" y="4000275"/>
                  </a:lnTo>
                  <a:lnTo>
                    <a:pt x="592956" y="4034858"/>
                  </a:lnTo>
                  <a:lnTo>
                    <a:pt x="622441" y="4068909"/>
                  </a:lnTo>
                  <a:lnTo>
                    <a:pt x="652527" y="4102419"/>
                  </a:lnTo>
                  <a:lnTo>
                    <a:pt x="683203" y="4135380"/>
                  </a:lnTo>
                  <a:lnTo>
                    <a:pt x="714463" y="4167783"/>
                  </a:lnTo>
                  <a:lnTo>
                    <a:pt x="746297" y="4199620"/>
                  </a:lnTo>
                  <a:lnTo>
                    <a:pt x="778697" y="4230883"/>
                  </a:lnTo>
                  <a:lnTo>
                    <a:pt x="811654" y="4261562"/>
                  </a:lnTo>
                  <a:lnTo>
                    <a:pt x="845161" y="4291651"/>
                  </a:lnTo>
                  <a:lnTo>
                    <a:pt x="879208" y="4321140"/>
                  </a:lnTo>
                  <a:lnTo>
                    <a:pt x="913788" y="4350021"/>
                  </a:lnTo>
                  <a:lnTo>
                    <a:pt x="948892" y="4378285"/>
                  </a:lnTo>
                  <a:lnTo>
                    <a:pt x="984511" y="4405924"/>
                  </a:lnTo>
                  <a:lnTo>
                    <a:pt x="1020637" y="4432930"/>
                  </a:lnTo>
                  <a:lnTo>
                    <a:pt x="1057262" y="4459294"/>
                  </a:lnTo>
                  <a:lnTo>
                    <a:pt x="1094378" y="4485008"/>
                  </a:lnTo>
                  <a:lnTo>
                    <a:pt x="1131975" y="4510064"/>
                  </a:lnTo>
                  <a:lnTo>
                    <a:pt x="1170046" y="4534452"/>
                  </a:lnTo>
                  <a:lnTo>
                    <a:pt x="1208582" y="4558165"/>
                  </a:lnTo>
                  <a:lnTo>
                    <a:pt x="1247574" y="4581194"/>
                  </a:lnTo>
                  <a:lnTo>
                    <a:pt x="1287014" y="4603531"/>
                  </a:lnTo>
                  <a:lnTo>
                    <a:pt x="1326895" y="4625167"/>
                  </a:lnTo>
                  <a:lnTo>
                    <a:pt x="1367206" y="4646094"/>
                  </a:lnTo>
                  <a:lnTo>
                    <a:pt x="1407941" y="4666303"/>
                  </a:lnTo>
                  <a:lnTo>
                    <a:pt x="1449090" y="4685786"/>
                  </a:lnTo>
                  <a:lnTo>
                    <a:pt x="1490646" y="4704535"/>
                  </a:lnTo>
                  <a:lnTo>
                    <a:pt x="1532599" y="4722542"/>
                  </a:lnTo>
                  <a:lnTo>
                    <a:pt x="1574941" y="4739797"/>
                  </a:lnTo>
                  <a:lnTo>
                    <a:pt x="1617664" y="4756292"/>
                  </a:lnTo>
                  <a:lnTo>
                    <a:pt x="1660760" y="4772019"/>
                  </a:lnTo>
                  <a:lnTo>
                    <a:pt x="1704220" y="4786970"/>
                  </a:lnTo>
                  <a:lnTo>
                    <a:pt x="1748035" y="4801136"/>
                  </a:lnTo>
                  <a:lnTo>
                    <a:pt x="1792198" y="4814508"/>
                  </a:lnTo>
                  <a:lnTo>
                    <a:pt x="1836700" y="4827079"/>
                  </a:lnTo>
                  <a:lnTo>
                    <a:pt x="1881532" y="4838840"/>
                  </a:lnTo>
                  <a:lnTo>
                    <a:pt x="1926685" y="4849782"/>
                  </a:lnTo>
                  <a:lnTo>
                    <a:pt x="1972153" y="4859897"/>
                  </a:lnTo>
                  <a:lnTo>
                    <a:pt x="2017925" y="4869177"/>
                  </a:lnTo>
                  <a:lnTo>
                    <a:pt x="2063995" y="4877613"/>
                  </a:lnTo>
                  <a:lnTo>
                    <a:pt x="2110352" y="4885196"/>
                  </a:lnTo>
                  <a:lnTo>
                    <a:pt x="2156990" y="4891919"/>
                  </a:lnTo>
                  <a:lnTo>
                    <a:pt x="2203899" y="4897773"/>
                  </a:lnTo>
                  <a:lnTo>
                    <a:pt x="2251071" y="4902750"/>
                  </a:lnTo>
                  <a:lnTo>
                    <a:pt x="2298498" y="4906840"/>
                  </a:lnTo>
                  <a:lnTo>
                    <a:pt x="2346171" y="4910036"/>
                  </a:lnTo>
                  <a:lnTo>
                    <a:pt x="2394082" y="4912330"/>
                  </a:lnTo>
                  <a:lnTo>
                    <a:pt x="2442222" y="4913712"/>
                  </a:lnTo>
                  <a:lnTo>
                    <a:pt x="2490583" y="4914174"/>
                  </a:lnTo>
                  <a:lnTo>
                    <a:pt x="2538952" y="4913712"/>
                  </a:lnTo>
                  <a:lnTo>
                    <a:pt x="2587100" y="4912330"/>
                  </a:lnTo>
                  <a:lnTo>
                    <a:pt x="2635018" y="4910036"/>
                  </a:lnTo>
                  <a:lnTo>
                    <a:pt x="2682698" y="4906840"/>
                  </a:lnTo>
                  <a:lnTo>
                    <a:pt x="2730132" y="4902750"/>
                  </a:lnTo>
                  <a:lnTo>
                    <a:pt x="2777311" y="4897773"/>
                  </a:lnTo>
                  <a:lnTo>
                    <a:pt x="2824227" y="4891919"/>
                  </a:lnTo>
                  <a:lnTo>
                    <a:pt x="2870871" y="4885196"/>
                  </a:lnTo>
                  <a:lnTo>
                    <a:pt x="2917235" y="4877613"/>
                  </a:lnTo>
                  <a:lnTo>
                    <a:pt x="2963310" y="4869177"/>
                  </a:lnTo>
                  <a:lnTo>
                    <a:pt x="3009089" y="4859897"/>
                  </a:lnTo>
                  <a:lnTo>
                    <a:pt x="3054562" y="4849782"/>
                  </a:lnTo>
                  <a:lnTo>
                    <a:pt x="3099721" y="4838840"/>
                  </a:lnTo>
                  <a:lnTo>
                    <a:pt x="3144559" y="4827079"/>
                  </a:lnTo>
                  <a:lnTo>
                    <a:pt x="3189066" y="4814508"/>
                  </a:lnTo>
                  <a:lnTo>
                    <a:pt x="3233233" y="4801136"/>
                  </a:lnTo>
                  <a:lnTo>
                    <a:pt x="3277054" y="4786970"/>
                  </a:lnTo>
                  <a:lnTo>
                    <a:pt x="3320519" y="4772019"/>
                  </a:lnTo>
                  <a:lnTo>
                    <a:pt x="3363619" y="4756292"/>
                  </a:lnTo>
                  <a:lnTo>
                    <a:pt x="3406347" y="4739797"/>
                  </a:lnTo>
                  <a:lnTo>
                    <a:pt x="3448694" y="4722542"/>
                  </a:lnTo>
                  <a:lnTo>
                    <a:pt x="3490651" y="4704535"/>
                  </a:lnTo>
                  <a:lnTo>
                    <a:pt x="3532211" y="4685786"/>
                  </a:lnTo>
                  <a:lnTo>
                    <a:pt x="3573364" y="4666303"/>
                  </a:lnTo>
                  <a:lnTo>
                    <a:pt x="3614103" y="4646094"/>
                  </a:lnTo>
                  <a:lnTo>
                    <a:pt x="3654418" y="4625167"/>
                  </a:lnTo>
                  <a:lnTo>
                    <a:pt x="3694302" y="4603531"/>
                  </a:lnTo>
                  <a:lnTo>
                    <a:pt x="3733746" y="4581194"/>
                  </a:lnTo>
                  <a:lnTo>
                    <a:pt x="3772742" y="4558165"/>
                  </a:lnTo>
                  <a:lnTo>
                    <a:pt x="3811281" y="4534452"/>
                  </a:lnTo>
                  <a:lnTo>
                    <a:pt x="3849355" y="4510064"/>
                  </a:lnTo>
                  <a:lnTo>
                    <a:pt x="3886955" y="4485008"/>
                  </a:lnTo>
                  <a:lnTo>
                    <a:pt x="3924074" y="4459294"/>
                  </a:lnTo>
                  <a:lnTo>
                    <a:pt x="3960702" y="4432930"/>
                  </a:lnTo>
                  <a:lnTo>
                    <a:pt x="3996831" y="4405924"/>
                  </a:lnTo>
                  <a:lnTo>
                    <a:pt x="4032453" y="4378285"/>
                  </a:lnTo>
                  <a:lnTo>
                    <a:pt x="4067559" y="4350021"/>
                  </a:lnTo>
                  <a:lnTo>
                    <a:pt x="4102141" y="4321140"/>
                  </a:lnTo>
                  <a:lnTo>
                    <a:pt x="4136191" y="4291651"/>
                  </a:lnTo>
                  <a:lnTo>
                    <a:pt x="4169700" y="4261562"/>
                  </a:lnTo>
                  <a:lnTo>
                    <a:pt x="4202660" y="4230883"/>
                  </a:lnTo>
                  <a:lnTo>
                    <a:pt x="4235061" y="4199620"/>
                  </a:lnTo>
                  <a:lnTo>
                    <a:pt x="4266897" y="4167783"/>
                  </a:lnTo>
                  <a:lnTo>
                    <a:pt x="4298159" y="4135380"/>
                  </a:lnTo>
                  <a:lnTo>
                    <a:pt x="4328837" y="4102419"/>
                  </a:lnTo>
                  <a:lnTo>
                    <a:pt x="4358924" y="4068909"/>
                  </a:lnTo>
                  <a:lnTo>
                    <a:pt x="4388411" y="4034858"/>
                  </a:lnTo>
                  <a:lnTo>
                    <a:pt x="4417290" y="4000275"/>
                  </a:lnTo>
                  <a:lnTo>
                    <a:pt x="4445553" y="3965169"/>
                  </a:lnTo>
                  <a:lnTo>
                    <a:pt x="4473190" y="3929546"/>
                  </a:lnTo>
                  <a:lnTo>
                    <a:pt x="4500194" y="3893417"/>
                  </a:lnTo>
                  <a:lnTo>
                    <a:pt x="4526557" y="3856789"/>
                  </a:lnTo>
                  <a:lnTo>
                    <a:pt x="4552269" y="3819670"/>
                  </a:lnTo>
                  <a:lnTo>
                    <a:pt x="4577322" y="3782070"/>
                  </a:lnTo>
                  <a:lnTo>
                    <a:pt x="4601708" y="3743996"/>
                  </a:lnTo>
                  <a:lnTo>
                    <a:pt x="4625419" y="3705458"/>
                  </a:lnTo>
                  <a:lnTo>
                    <a:pt x="4648446" y="3666463"/>
                  </a:lnTo>
                  <a:lnTo>
                    <a:pt x="4670781" y="3627019"/>
                  </a:lnTo>
                  <a:lnTo>
                    <a:pt x="4692415" y="3587136"/>
                  </a:lnTo>
                  <a:lnTo>
                    <a:pt x="4713340" y="3546822"/>
                  </a:lnTo>
                  <a:lnTo>
                    <a:pt x="4733547" y="3506085"/>
                  </a:lnTo>
                  <a:lnTo>
                    <a:pt x="4753028" y="3464933"/>
                  </a:lnTo>
                  <a:lnTo>
                    <a:pt x="4771775" y="3423375"/>
                  </a:lnTo>
                  <a:lnTo>
                    <a:pt x="4789780" y="3381420"/>
                  </a:lnTo>
                  <a:lnTo>
                    <a:pt x="4807033" y="3339075"/>
                  </a:lnTo>
                  <a:lnTo>
                    <a:pt x="4823526" y="3296350"/>
                  </a:lnTo>
                  <a:lnTo>
                    <a:pt x="4839251" y="3253252"/>
                  </a:lnTo>
                  <a:lnTo>
                    <a:pt x="4854200" y="3209790"/>
                  </a:lnTo>
                  <a:lnTo>
                    <a:pt x="4868364" y="3165973"/>
                  </a:lnTo>
                  <a:lnTo>
                    <a:pt x="4881735" y="3121809"/>
                  </a:lnTo>
                  <a:lnTo>
                    <a:pt x="4894304" y="3077306"/>
                  </a:lnTo>
                  <a:lnTo>
                    <a:pt x="4906064" y="3032472"/>
                  </a:lnTo>
                  <a:lnTo>
                    <a:pt x="4917004" y="2987317"/>
                  </a:lnTo>
                  <a:lnTo>
                    <a:pt x="4927118" y="2941848"/>
                  </a:lnTo>
                  <a:lnTo>
                    <a:pt x="4936396" y="2896075"/>
                  </a:lnTo>
                  <a:lnTo>
                    <a:pt x="4944831" y="2850004"/>
                  </a:lnTo>
                  <a:lnTo>
                    <a:pt x="4952414" y="2803646"/>
                  </a:lnTo>
                  <a:lnTo>
                    <a:pt x="4959135" y="2757007"/>
                  </a:lnTo>
                  <a:lnTo>
                    <a:pt x="4964989" y="2710098"/>
                  </a:lnTo>
                  <a:lnTo>
                    <a:pt x="4969964" y="2662925"/>
                  </a:lnTo>
                  <a:lnTo>
                    <a:pt x="4974054" y="2615498"/>
                  </a:lnTo>
                  <a:lnTo>
                    <a:pt x="4977250" y="2567825"/>
                  </a:lnTo>
                  <a:lnTo>
                    <a:pt x="4979543" y="2519914"/>
                  </a:lnTo>
                  <a:lnTo>
                    <a:pt x="4980925" y="2471774"/>
                  </a:lnTo>
                  <a:lnTo>
                    <a:pt x="4981387" y="2423413"/>
                  </a:lnTo>
                  <a:close/>
                </a:path>
              </a:pathLst>
            </a:custGeom>
            <a:ln w="46878">
              <a:solidFill>
                <a:srgbClr val="FFFFFF"/>
              </a:solidFill>
            </a:ln>
          </p:spPr>
          <p:txBody>
            <a:bodyPr wrap="square" lIns="0" tIns="0" rIns="0" bIns="0" rtlCol="0"/>
            <a:lstStyle/>
            <a:p>
              <a:endParaRPr lang="en-US" sz="960" dirty="0"/>
            </a:p>
          </p:txBody>
        </p:sp>
        <p:sp>
          <p:nvSpPr>
            <p:cNvPr id="6" name="object 6"/>
            <p:cNvSpPr/>
            <p:nvPr/>
          </p:nvSpPr>
          <p:spPr>
            <a:xfrm>
              <a:off x="1468416" y="23438"/>
              <a:ext cx="630555" cy="3968750"/>
            </a:xfrm>
            <a:custGeom>
              <a:avLst/>
              <a:gdLst/>
              <a:ahLst/>
              <a:cxnLst/>
              <a:rect l="l" t="t" r="r" b="b"/>
              <a:pathLst>
                <a:path w="630555" h="3968750">
                  <a:moveTo>
                    <a:pt x="630242" y="3634884"/>
                  </a:moveTo>
                  <a:lnTo>
                    <a:pt x="630242" y="3624989"/>
                  </a:lnTo>
                  <a:lnTo>
                    <a:pt x="630106" y="3625104"/>
                  </a:lnTo>
                  <a:lnTo>
                    <a:pt x="629855" y="3625334"/>
                  </a:lnTo>
                  <a:lnTo>
                    <a:pt x="629855" y="0"/>
                  </a:lnTo>
                  <a:lnTo>
                    <a:pt x="2565" y="0"/>
                  </a:lnTo>
                  <a:lnTo>
                    <a:pt x="0" y="2250601"/>
                  </a:lnTo>
                  <a:lnTo>
                    <a:pt x="0" y="3968633"/>
                  </a:lnTo>
                  <a:lnTo>
                    <a:pt x="49735" y="3952837"/>
                  </a:lnTo>
                  <a:lnTo>
                    <a:pt x="98845" y="3935736"/>
                  </a:lnTo>
                  <a:lnTo>
                    <a:pt x="147304" y="3917346"/>
                  </a:lnTo>
                  <a:lnTo>
                    <a:pt x="195086" y="3897684"/>
                  </a:lnTo>
                  <a:lnTo>
                    <a:pt x="242168" y="3876768"/>
                  </a:lnTo>
                  <a:lnTo>
                    <a:pt x="288524" y="3854613"/>
                  </a:lnTo>
                  <a:lnTo>
                    <a:pt x="334129" y="3831239"/>
                  </a:lnTo>
                  <a:lnTo>
                    <a:pt x="378959" y="3806661"/>
                  </a:lnTo>
                  <a:lnTo>
                    <a:pt x="422987" y="3780897"/>
                  </a:lnTo>
                  <a:lnTo>
                    <a:pt x="466190" y="3753964"/>
                  </a:lnTo>
                  <a:lnTo>
                    <a:pt x="508541" y="3725879"/>
                  </a:lnTo>
                  <a:lnTo>
                    <a:pt x="550017" y="3696659"/>
                  </a:lnTo>
                  <a:lnTo>
                    <a:pt x="590593" y="3666322"/>
                  </a:lnTo>
                  <a:lnTo>
                    <a:pt x="630242" y="3634884"/>
                  </a:lnTo>
                  <a:close/>
                </a:path>
              </a:pathLst>
            </a:custGeom>
            <a:ln w="46878">
              <a:solidFill>
                <a:srgbClr val="FFFFFF"/>
              </a:solidFill>
            </a:ln>
          </p:spPr>
          <p:txBody>
            <a:bodyPr wrap="square" lIns="0" tIns="0" rIns="0" bIns="0" rtlCol="0"/>
            <a:lstStyle/>
            <a:p>
              <a:endParaRPr lang="en-US" sz="960" dirty="0"/>
            </a:p>
          </p:txBody>
        </p:sp>
        <p:sp>
          <p:nvSpPr>
            <p:cNvPr id="7" name="object 7"/>
            <p:cNvSpPr/>
            <p:nvPr/>
          </p:nvSpPr>
          <p:spPr>
            <a:xfrm>
              <a:off x="15673836" y="1201408"/>
              <a:ext cx="4406900" cy="677545"/>
            </a:xfrm>
            <a:custGeom>
              <a:avLst/>
              <a:gdLst/>
              <a:ahLst/>
              <a:cxnLst/>
              <a:rect l="l" t="t" r="r" b="b"/>
              <a:pathLst>
                <a:path w="4406900" h="677544">
                  <a:moveTo>
                    <a:pt x="4406829" y="0"/>
                  </a:moveTo>
                  <a:lnTo>
                    <a:pt x="0" y="0"/>
                  </a:lnTo>
                  <a:lnTo>
                    <a:pt x="0" y="677036"/>
                  </a:lnTo>
                  <a:lnTo>
                    <a:pt x="4406829" y="677036"/>
                  </a:lnTo>
                  <a:lnTo>
                    <a:pt x="4406829" y="0"/>
                  </a:lnTo>
                  <a:close/>
                </a:path>
              </a:pathLst>
            </a:custGeom>
            <a:ln w="46878">
              <a:solidFill>
                <a:srgbClr val="FFFFFF"/>
              </a:solidFill>
            </a:ln>
          </p:spPr>
          <p:txBody>
            <a:bodyPr wrap="square" lIns="0" tIns="0" rIns="0" bIns="0" rtlCol="0"/>
            <a:lstStyle/>
            <a:p>
              <a:endParaRPr lang="en-US" sz="960" dirty="0"/>
            </a:p>
          </p:txBody>
        </p:sp>
      </p:grpSp>
      <p:sp>
        <p:nvSpPr>
          <p:cNvPr id="8" name="object 8"/>
          <p:cNvSpPr txBox="1">
            <a:spLocks noGrp="1"/>
          </p:cNvSpPr>
          <p:nvPr>
            <p:ph type="title"/>
          </p:nvPr>
        </p:nvSpPr>
        <p:spPr>
          <a:xfrm>
            <a:off x="2747879" y="2800662"/>
            <a:ext cx="6696243" cy="2578295"/>
          </a:xfrm>
          <a:prstGeom prst="rect">
            <a:avLst/>
          </a:prstGeom>
        </p:spPr>
        <p:txBody>
          <a:bodyPr vert="horz" wrap="square" lIns="0" tIns="6438" rIns="0" bIns="0" rtlCol="0" anchor="ctr">
            <a:spAutoFit/>
          </a:bodyPr>
          <a:lstStyle/>
          <a:p>
            <a:pPr marL="6438" marR="2711" algn="ctr">
              <a:lnSpc>
                <a:spcPct val="100000"/>
              </a:lnSpc>
              <a:spcBef>
                <a:spcPts val="51"/>
              </a:spcBef>
            </a:pPr>
            <a:r>
              <a:rPr lang="en-US" sz="2641" b="1" dirty="0" err="1">
                <a:solidFill>
                  <a:srgbClr val="FFFFFF"/>
                </a:solidFill>
                <a:latin typeface="Open Sans ExtraBold" panose="020B0606030504020204" pitchFamily="34" charset="0"/>
                <a:ea typeface="Open Sans ExtraBold" panose="020B0606030504020204" pitchFamily="34" charset="0"/>
                <a:cs typeface="Open Sans ExtraBold" panose="020B0606030504020204" pitchFamily="34" charset="0"/>
              </a:rPr>
              <a:t>JuWiLi</a:t>
            </a:r>
            <a:r>
              <a:rPr lang="en-US" sz="2641" b="1" dirty="0">
                <a:solidFill>
                  <a:srgbClr val="FFFFFF"/>
                </a:solidFill>
                <a:latin typeface="Open Sans ExtraBold" panose="020B0606030504020204" pitchFamily="34" charset="0"/>
                <a:ea typeface="Open Sans ExtraBold" panose="020B0606030504020204" pitchFamily="34" charset="0"/>
                <a:cs typeface="Open Sans ExtraBold" panose="020B0606030504020204" pitchFamily="34" charset="0"/>
              </a:rPr>
              <a:t> II</a:t>
            </a:r>
            <a:br>
              <a:rPr lang="en-US" sz="2641" b="1" dirty="0">
                <a:solidFill>
                  <a:srgbClr val="FFFFFF"/>
                </a:solidFill>
                <a:latin typeface="Open Sans ExtraBold" panose="020B0606030504020204" pitchFamily="34" charset="0"/>
                <a:ea typeface="Open Sans ExtraBold" panose="020B0606030504020204" pitchFamily="34" charset="0"/>
                <a:cs typeface="Open Sans ExtraBold" panose="020B0606030504020204" pitchFamily="34" charset="0"/>
              </a:rPr>
            </a:br>
            <a:r>
              <a:rPr lang="en-US" sz="2641" b="1" dirty="0">
                <a:solidFill>
                  <a:srgbClr val="FFFFFF"/>
                </a:solidFill>
                <a:latin typeface="Open Sans ExtraBold" panose="020B0606030504020204" pitchFamily="34" charset="0"/>
                <a:ea typeface="Open Sans ExtraBold" panose="020B0606030504020204" pitchFamily="34" charset="0"/>
                <a:cs typeface="Open Sans ExtraBold" panose="020B0606030504020204" pitchFamily="34" charset="0"/>
              </a:rPr>
              <a:t>TF Behavioral Economics</a:t>
            </a:r>
            <a:br>
              <a:rPr lang="en-US" sz="2641" b="1" dirty="0">
                <a:solidFill>
                  <a:srgbClr val="FFFFFF"/>
                </a:solidFill>
                <a:latin typeface="Open Sans ExtraBold" panose="020B0606030504020204" pitchFamily="34" charset="0"/>
                <a:ea typeface="Open Sans ExtraBold" panose="020B0606030504020204" pitchFamily="34" charset="0"/>
                <a:cs typeface="Open Sans ExtraBold" panose="020B0606030504020204" pitchFamily="34" charset="0"/>
              </a:rPr>
            </a:br>
            <a:endParaRPr lang="en-US" sz="2641" b="1"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3727" algn="ctr">
              <a:lnSpc>
                <a:spcPct val="100000"/>
              </a:lnSpc>
              <a:spcBef>
                <a:spcPts val="269"/>
              </a:spcBef>
            </a:pPr>
            <a: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t>Research overview for the public event on 28 November 2025</a:t>
            </a:r>
            <a:b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t>by</a:t>
            </a:r>
            <a:b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t> </a:t>
            </a:r>
            <a:b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t>Markus Brückner (Bundesnotarkammer, DE)</a:t>
            </a:r>
            <a:b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708" dirty="0">
                <a:solidFill>
                  <a:srgbClr val="FFFFFF"/>
                </a:solidFill>
                <a:latin typeface="Open Sans" panose="020B0606030504020204" pitchFamily="34" charset="0"/>
                <a:ea typeface="Open Sans" panose="020B0606030504020204" pitchFamily="34" charset="0"/>
                <a:cs typeface="Open Sans" panose="020B0606030504020204" pitchFamily="34" charset="0"/>
              </a:rPr>
              <a:t>Axel Sonntag (Accenture, AT)</a:t>
            </a:r>
            <a:endParaRPr lang="en-US" sz="1708"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Slide Number Placeholder 10">
            <a:extLst>
              <a:ext uri="{FF2B5EF4-FFF2-40B4-BE49-F238E27FC236}">
                <a16:creationId xmlns:a16="http://schemas.microsoft.com/office/drawing/2014/main" id="{651F8C78-F153-D8C8-44A6-CF5CF2E053AA}"/>
              </a:ext>
            </a:extLst>
          </p:cNvPr>
          <p:cNvSpPr>
            <a:spLocks noGrp="1"/>
          </p:cNvSpPr>
          <p:nvPr>
            <p:ph type="sldNum" sz="quarter" idx="7"/>
          </p:nvPr>
        </p:nvSpPr>
        <p:spPr>
          <a:xfrm>
            <a:off x="1633821" y="6460142"/>
            <a:ext cx="159591" cy="119066"/>
          </a:xfrm>
        </p:spPr>
        <p:txBody>
          <a:bodyPr/>
          <a:lstStyle/>
          <a:p>
            <a:pPr marL="20330">
              <a:spcBef>
                <a:spcPts val="45"/>
              </a:spcBef>
            </a:pPr>
            <a:fld id="{81D60167-4931-47E6-BA6A-407CBD079E47}" type="slidenum">
              <a:rPr lang="en-US" spc="8"/>
              <a:pPr marL="20330">
                <a:spcBef>
                  <a:spcPts val="45"/>
                </a:spcBef>
              </a:pPr>
              <a:t>1</a:t>
            </a:fld>
            <a:endParaRPr lang="en-US" spc="8"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A31CC-9493-0C02-51CA-09BE1598D545}"/>
            </a:ext>
          </a:extLst>
        </p:cNvPr>
        <p:cNvGrpSpPr/>
        <p:nvPr/>
      </p:nvGrpSpPr>
      <p:grpSpPr>
        <a:xfrm>
          <a:off x="0" y="0"/>
          <a:ext cx="0" cy="0"/>
          <a:chOff x="0" y="0"/>
          <a:chExt cx="0" cy="0"/>
        </a:xfrm>
      </p:grpSpPr>
      <p:grpSp>
        <p:nvGrpSpPr>
          <p:cNvPr id="3" name="object 3">
            <a:extLst>
              <a:ext uri="{FF2B5EF4-FFF2-40B4-BE49-F238E27FC236}">
                <a16:creationId xmlns:a16="http://schemas.microsoft.com/office/drawing/2014/main" id="{58268FF6-C8B4-AF45-3428-83FD244AD15E}"/>
              </a:ext>
            </a:extLst>
          </p:cNvPr>
          <p:cNvGrpSpPr/>
          <p:nvPr/>
        </p:nvGrpSpPr>
        <p:grpSpPr>
          <a:xfrm>
            <a:off x="9199589" y="5616681"/>
            <a:ext cx="2268832" cy="1247248"/>
            <a:chOff x="15868405" y="10526075"/>
            <a:chExt cx="4251960" cy="2337435"/>
          </a:xfrm>
        </p:grpSpPr>
        <p:sp>
          <p:nvSpPr>
            <p:cNvPr id="4" name="object 4">
              <a:extLst>
                <a:ext uri="{FF2B5EF4-FFF2-40B4-BE49-F238E27FC236}">
                  <a16:creationId xmlns:a16="http://schemas.microsoft.com/office/drawing/2014/main" id="{CBC63262-899A-141A-231C-11DB5281FE32}"/>
                </a:ext>
              </a:extLst>
            </p:cNvPr>
            <p:cNvSpPr/>
            <p:nvPr/>
          </p:nvSpPr>
          <p:spPr>
            <a:xfrm>
              <a:off x="17231200" y="11172070"/>
              <a:ext cx="587375" cy="579755"/>
            </a:xfrm>
            <a:custGeom>
              <a:avLst/>
              <a:gdLst/>
              <a:ahLst/>
              <a:cxnLst/>
              <a:rect l="l" t="t" r="r" b="b"/>
              <a:pathLst>
                <a:path w="587375" h="579754">
                  <a:moveTo>
                    <a:pt x="587259" y="0"/>
                  </a:moveTo>
                  <a:lnTo>
                    <a:pt x="513460" y="0"/>
                  </a:lnTo>
                  <a:lnTo>
                    <a:pt x="513460" y="285687"/>
                  </a:lnTo>
                  <a:lnTo>
                    <a:pt x="507898" y="334898"/>
                  </a:lnTo>
                  <a:lnTo>
                    <a:pt x="492045" y="380220"/>
                  </a:lnTo>
                  <a:lnTo>
                    <a:pt x="467148" y="420422"/>
                  </a:lnTo>
                  <a:lnTo>
                    <a:pt x="434457" y="454279"/>
                  </a:lnTo>
                  <a:lnTo>
                    <a:pt x="434457" y="0"/>
                  </a:lnTo>
                  <a:lnTo>
                    <a:pt x="358407" y="0"/>
                  </a:lnTo>
                  <a:lnTo>
                    <a:pt x="358407" y="495754"/>
                  </a:lnTo>
                  <a:lnTo>
                    <a:pt x="342810" y="499947"/>
                  </a:lnTo>
                  <a:lnTo>
                    <a:pt x="326785" y="503005"/>
                  </a:lnTo>
                  <a:lnTo>
                    <a:pt x="310376" y="504877"/>
                  </a:lnTo>
                  <a:lnTo>
                    <a:pt x="293624" y="505513"/>
                  </a:lnTo>
                  <a:lnTo>
                    <a:pt x="249374" y="501039"/>
                  </a:lnTo>
                  <a:lnTo>
                    <a:pt x="208134" y="488212"/>
                  </a:lnTo>
                  <a:lnTo>
                    <a:pt x="170795" y="467921"/>
                  </a:lnTo>
                  <a:lnTo>
                    <a:pt x="138248" y="441058"/>
                  </a:lnTo>
                  <a:lnTo>
                    <a:pt x="111383" y="408513"/>
                  </a:lnTo>
                  <a:lnTo>
                    <a:pt x="91090" y="371175"/>
                  </a:lnTo>
                  <a:lnTo>
                    <a:pt x="78262" y="329937"/>
                  </a:lnTo>
                  <a:lnTo>
                    <a:pt x="73788" y="285687"/>
                  </a:lnTo>
                  <a:lnTo>
                    <a:pt x="73788" y="272431"/>
                  </a:lnTo>
                  <a:lnTo>
                    <a:pt x="0" y="272431"/>
                  </a:lnTo>
                  <a:lnTo>
                    <a:pt x="0" y="285687"/>
                  </a:lnTo>
                  <a:lnTo>
                    <a:pt x="3850" y="333251"/>
                  </a:lnTo>
                  <a:lnTo>
                    <a:pt x="14995" y="378394"/>
                  </a:lnTo>
                  <a:lnTo>
                    <a:pt x="32825" y="420508"/>
                  </a:lnTo>
                  <a:lnTo>
                    <a:pt x="56731" y="458984"/>
                  </a:lnTo>
                  <a:lnTo>
                    <a:pt x="86103" y="493212"/>
                  </a:lnTo>
                  <a:lnTo>
                    <a:pt x="120332" y="522583"/>
                  </a:lnTo>
                  <a:lnTo>
                    <a:pt x="158808" y="546488"/>
                  </a:lnTo>
                  <a:lnTo>
                    <a:pt x="200921" y="564317"/>
                  </a:lnTo>
                  <a:lnTo>
                    <a:pt x="246063" y="575462"/>
                  </a:lnTo>
                  <a:lnTo>
                    <a:pt x="293624" y="579312"/>
                  </a:lnTo>
                  <a:lnTo>
                    <a:pt x="341190" y="575462"/>
                  </a:lnTo>
                  <a:lnTo>
                    <a:pt x="386336" y="564317"/>
                  </a:lnTo>
                  <a:lnTo>
                    <a:pt x="428452" y="546488"/>
                  </a:lnTo>
                  <a:lnTo>
                    <a:pt x="466929" y="522583"/>
                  </a:lnTo>
                  <a:lnTo>
                    <a:pt x="501158" y="493212"/>
                  </a:lnTo>
                  <a:lnTo>
                    <a:pt x="530530" y="458984"/>
                  </a:lnTo>
                  <a:lnTo>
                    <a:pt x="554435" y="420508"/>
                  </a:lnTo>
                  <a:lnTo>
                    <a:pt x="572265" y="378394"/>
                  </a:lnTo>
                  <a:lnTo>
                    <a:pt x="583409" y="333251"/>
                  </a:lnTo>
                  <a:lnTo>
                    <a:pt x="587259" y="285687"/>
                  </a:lnTo>
                  <a:lnTo>
                    <a:pt x="587259" y="0"/>
                  </a:lnTo>
                  <a:close/>
                </a:path>
              </a:pathLst>
            </a:custGeom>
            <a:solidFill>
              <a:srgbClr val="A78A4C"/>
            </a:solidFill>
          </p:spPr>
          <p:txBody>
            <a:bodyPr wrap="square" lIns="0" tIns="0" rIns="0" bIns="0" rtlCol="0"/>
            <a:lstStyle/>
            <a:p>
              <a:endParaRPr lang="en-US" sz="960" dirty="0"/>
            </a:p>
          </p:txBody>
        </p:sp>
        <p:pic>
          <p:nvPicPr>
            <p:cNvPr id="5" name="object 5">
              <a:extLst>
                <a:ext uri="{FF2B5EF4-FFF2-40B4-BE49-F238E27FC236}">
                  <a16:creationId xmlns:a16="http://schemas.microsoft.com/office/drawing/2014/main" id="{919A5184-ED83-458B-EFC7-391E7C5008F2}"/>
                </a:ext>
              </a:extLst>
            </p:cNvPr>
            <p:cNvPicPr/>
            <p:nvPr/>
          </p:nvPicPr>
          <p:blipFill>
            <a:blip r:embed="rId3" cstate="print"/>
            <a:stretch>
              <a:fillRect/>
            </a:stretch>
          </p:blipFill>
          <p:spPr>
            <a:xfrm>
              <a:off x="18065730" y="11020372"/>
              <a:ext cx="91557" cy="243814"/>
            </a:xfrm>
            <a:prstGeom prst="rect">
              <a:avLst/>
            </a:prstGeom>
          </p:spPr>
        </p:pic>
        <p:pic>
          <p:nvPicPr>
            <p:cNvPr id="6" name="object 6">
              <a:extLst>
                <a:ext uri="{FF2B5EF4-FFF2-40B4-BE49-F238E27FC236}">
                  <a16:creationId xmlns:a16="http://schemas.microsoft.com/office/drawing/2014/main" id="{9DEB2573-E991-4BB7-F50E-43568C406A8E}"/>
                </a:ext>
              </a:extLst>
            </p:cNvPr>
            <p:cNvPicPr/>
            <p:nvPr/>
          </p:nvPicPr>
          <p:blipFill>
            <a:blip r:embed="rId4" cstate="print"/>
            <a:stretch>
              <a:fillRect/>
            </a:stretch>
          </p:blipFill>
          <p:spPr>
            <a:xfrm>
              <a:off x="18196175" y="11020373"/>
              <a:ext cx="157984" cy="188088"/>
            </a:xfrm>
            <a:prstGeom prst="rect">
              <a:avLst/>
            </a:prstGeom>
          </p:spPr>
        </p:pic>
        <p:pic>
          <p:nvPicPr>
            <p:cNvPr id="7" name="object 7">
              <a:extLst>
                <a:ext uri="{FF2B5EF4-FFF2-40B4-BE49-F238E27FC236}">
                  <a16:creationId xmlns:a16="http://schemas.microsoft.com/office/drawing/2014/main" id="{03D7A9BF-9CE6-4C6E-2AB2-7154539568CE}"/>
                </a:ext>
              </a:extLst>
            </p:cNvPr>
            <p:cNvPicPr/>
            <p:nvPr/>
          </p:nvPicPr>
          <p:blipFill>
            <a:blip r:embed="rId5" cstate="print"/>
            <a:stretch>
              <a:fillRect/>
            </a:stretch>
          </p:blipFill>
          <p:spPr>
            <a:xfrm>
              <a:off x="18384343" y="11017713"/>
              <a:ext cx="284270" cy="190748"/>
            </a:xfrm>
            <a:prstGeom prst="rect">
              <a:avLst/>
            </a:prstGeom>
          </p:spPr>
        </p:pic>
        <p:sp>
          <p:nvSpPr>
            <p:cNvPr id="8" name="object 8">
              <a:extLst>
                <a:ext uri="{FF2B5EF4-FFF2-40B4-BE49-F238E27FC236}">
                  <a16:creationId xmlns:a16="http://schemas.microsoft.com/office/drawing/2014/main" id="{717CFDB3-7189-A4FF-FB5D-C05CA4F8C948}"/>
                </a:ext>
              </a:extLst>
            </p:cNvPr>
            <p:cNvSpPr/>
            <p:nvPr/>
          </p:nvSpPr>
          <p:spPr>
            <a:xfrm>
              <a:off x="18695001" y="11020376"/>
              <a:ext cx="50165" cy="186055"/>
            </a:xfrm>
            <a:custGeom>
              <a:avLst/>
              <a:gdLst/>
              <a:ahLst/>
              <a:cxnLst/>
              <a:rect l="l" t="t" r="r" b="b"/>
              <a:pathLst>
                <a:path w="50165" h="186054">
                  <a:moveTo>
                    <a:pt x="50134" y="0"/>
                  </a:moveTo>
                  <a:lnTo>
                    <a:pt x="0" y="0"/>
                  </a:lnTo>
                  <a:lnTo>
                    <a:pt x="0" y="185554"/>
                  </a:lnTo>
                  <a:lnTo>
                    <a:pt x="50134" y="185554"/>
                  </a:lnTo>
                  <a:lnTo>
                    <a:pt x="50134" y="0"/>
                  </a:lnTo>
                  <a:close/>
                </a:path>
              </a:pathLst>
            </a:custGeom>
            <a:solidFill>
              <a:srgbClr val="7A7C81"/>
            </a:solidFill>
          </p:spPr>
          <p:txBody>
            <a:bodyPr wrap="square" lIns="0" tIns="0" rIns="0" bIns="0" rtlCol="0"/>
            <a:lstStyle/>
            <a:p>
              <a:endParaRPr lang="en-US" sz="960" dirty="0"/>
            </a:p>
          </p:txBody>
        </p:sp>
        <p:pic>
          <p:nvPicPr>
            <p:cNvPr id="9" name="object 9">
              <a:extLst>
                <a:ext uri="{FF2B5EF4-FFF2-40B4-BE49-F238E27FC236}">
                  <a16:creationId xmlns:a16="http://schemas.microsoft.com/office/drawing/2014/main" id="{3D3A3A43-9619-53A2-B663-BD0A162D3F08}"/>
                </a:ext>
              </a:extLst>
            </p:cNvPr>
            <p:cNvPicPr/>
            <p:nvPr/>
          </p:nvPicPr>
          <p:blipFill>
            <a:blip r:embed="rId6" cstate="print"/>
            <a:stretch>
              <a:fillRect/>
            </a:stretch>
          </p:blipFill>
          <p:spPr>
            <a:xfrm>
              <a:off x="18778226" y="11017713"/>
              <a:ext cx="146738" cy="190748"/>
            </a:xfrm>
            <a:prstGeom prst="rect">
              <a:avLst/>
            </a:prstGeom>
          </p:spPr>
        </p:pic>
        <p:sp>
          <p:nvSpPr>
            <p:cNvPr id="10" name="object 10">
              <a:extLst>
                <a:ext uri="{FF2B5EF4-FFF2-40B4-BE49-F238E27FC236}">
                  <a16:creationId xmlns:a16="http://schemas.microsoft.com/office/drawing/2014/main" id="{27D1D242-3881-6651-BB1F-0FA4F1488136}"/>
                </a:ext>
              </a:extLst>
            </p:cNvPr>
            <p:cNvSpPr/>
            <p:nvPr/>
          </p:nvSpPr>
          <p:spPr>
            <a:xfrm>
              <a:off x="18952884" y="11020512"/>
              <a:ext cx="109855" cy="185420"/>
            </a:xfrm>
            <a:custGeom>
              <a:avLst/>
              <a:gdLst/>
              <a:ahLst/>
              <a:cxnLst/>
              <a:rect l="l" t="t" r="r" b="b"/>
              <a:pathLst>
                <a:path w="109855" h="185420">
                  <a:moveTo>
                    <a:pt x="109601" y="0"/>
                  </a:moveTo>
                  <a:lnTo>
                    <a:pt x="0" y="0"/>
                  </a:lnTo>
                  <a:lnTo>
                    <a:pt x="0" y="40640"/>
                  </a:lnTo>
                  <a:lnTo>
                    <a:pt x="0" y="69850"/>
                  </a:lnTo>
                  <a:lnTo>
                    <a:pt x="0" y="109220"/>
                  </a:lnTo>
                  <a:lnTo>
                    <a:pt x="0" y="144780"/>
                  </a:lnTo>
                  <a:lnTo>
                    <a:pt x="0" y="185420"/>
                  </a:lnTo>
                  <a:lnTo>
                    <a:pt x="109601" y="185420"/>
                  </a:lnTo>
                  <a:lnTo>
                    <a:pt x="109601" y="144780"/>
                  </a:lnTo>
                  <a:lnTo>
                    <a:pt x="49885" y="144780"/>
                  </a:lnTo>
                  <a:lnTo>
                    <a:pt x="49885" y="109220"/>
                  </a:lnTo>
                  <a:lnTo>
                    <a:pt x="105181" y="109220"/>
                  </a:lnTo>
                  <a:lnTo>
                    <a:pt x="105181" y="69850"/>
                  </a:lnTo>
                  <a:lnTo>
                    <a:pt x="49885" y="69850"/>
                  </a:lnTo>
                  <a:lnTo>
                    <a:pt x="49885" y="40640"/>
                  </a:lnTo>
                  <a:lnTo>
                    <a:pt x="109601" y="40640"/>
                  </a:lnTo>
                  <a:lnTo>
                    <a:pt x="109601" y="0"/>
                  </a:lnTo>
                  <a:close/>
                </a:path>
              </a:pathLst>
            </a:custGeom>
            <a:solidFill>
              <a:srgbClr val="7A7C81"/>
            </a:solidFill>
          </p:spPr>
          <p:txBody>
            <a:bodyPr wrap="square" lIns="0" tIns="0" rIns="0" bIns="0" rtlCol="0"/>
            <a:lstStyle/>
            <a:p>
              <a:endParaRPr lang="en-US" sz="960" dirty="0"/>
            </a:p>
          </p:txBody>
        </p:sp>
        <p:pic>
          <p:nvPicPr>
            <p:cNvPr id="11" name="object 11">
              <a:extLst>
                <a:ext uri="{FF2B5EF4-FFF2-40B4-BE49-F238E27FC236}">
                  <a16:creationId xmlns:a16="http://schemas.microsoft.com/office/drawing/2014/main" id="{6784DC01-7300-B781-634E-B99916AB4247}"/>
                </a:ext>
              </a:extLst>
            </p:cNvPr>
            <p:cNvPicPr/>
            <p:nvPr/>
          </p:nvPicPr>
          <p:blipFill>
            <a:blip r:embed="rId7" cstate="print"/>
            <a:stretch>
              <a:fillRect/>
            </a:stretch>
          </p:blipFill>
          <p:spPr>
            <a:xfrm>
              <a:off x="18055058" y="11302723"/>
              <a:ext cx="235657" cy="180287"/>
            </a:xfrm>
            <a:prstGeom prst="rect">
              <a:avLst/>
            </a:prstGeom>
          </p:spPr>
        </p:pic>
        <p:sp>
          <p:nvSpPr>
            <p:cNvPr id="12" name="object 12">
              <a:extLst>
                <a:ext uri="{FF2B5EF4-FFF2-40B4-BE49-F238E27FC236}">
                  <a16:creationId xmlns:a16="http://schemas.microsoft.com/office/drawing/2014/main" id="{EECF44FF-3D07-8253-8AEC-99AAA70373DF}"/>
                </a:ext>
              </a:extLst>
            </p:cNvPr>
            <p:cNvSpPr/>
            <p:nvPr/>
          </p:nvSpPr>
          <p:spPr>
            <a:xfrm>
              <a:off x="18316233" y="11302681"/>
              <a:ext cx="362585" cy="180340"/>
            </a:xfrm>
            <a:custGeom>
              <a:avLst/>
              <a:gdLst/>
              <a:ahLst/>
              <a:cxnLst/>
              <a:rect l="l" t="t" r="r" b="b"/>
              <a:pathLst>
                <a:path w="362584" h="180340">
                  <a:moveTo>
                    <a:pt x="29476" y="50"/>
                  </a:moveTo>
                  <a:lnTo>
                    <a:pt x="0" y="50"/>
                  </a:lnTo>
                  <a:lnTo>
                    <a:pt x="0" y="180340"/>
                  </a:lnTo>
                  <a:lnTo>
                    <a:pt x="29476" y="180340"/>
                  </a:lnTo>
                  <a:lnTo>
                    <a:pt x="29476" y="50"/>
                  </a:lnTo>
                  <a:close/>
                </a:path>
                <a:path w="362584" h="180340">
                  <a:moveTo>
                    <a:pt x="192379" y="0"/>
                  </a:moveTo>
                  <a:lnTo>
                    <a:pt x="56845" y="0"/>
                  </a:lnTo>
                  <a:lnTo>
                    <a:pt x="56845" y="25400"/>
                  </a:lnTo>
                  <a:lnTo>
                    <a:pt x="109880" y="25400"/>
                  </a:lnTo>
                  <a:lnTo>
                    <a:pt x="109880" y="180340"/>
                  </a:lnTo>
                  <a:lnTo>
                    <a:pt x="139344" y="180340"/>
                  </a:lnTo>
                  <a:lnTo>
                    <a:pt x="139344" y="25400"/>
                  </a:lnTo>
                  <a:lnTo>
                    <a:pt x="192379" y="25400"/>
                  </a:lnTo>
                  <a:lnTo>
                    <a:pt x="192379" y="0"/>
                  </a:lnTo>
                  <a:close/>
                </a:path>
                <a:path w="362584" h="180340">
                  <a:moveTo>
                    <a:pt x="362191" y="0"/>
                  </a:moveTo>
                  <a:lnTo>
                    <a:pt x="332587" y="0"/>
                  </a:lnTo>
                  <a:lnTo>
                    <a:pt x="332587" y="73660"/>
                  </a:lnTo>
                  <a:lnTo>
                    <a:pt x="249478" y="73660"/>
                  </a:lnTo>
                  <a:lnTo>
                    <a:pt x="249478" y="0"/>
                  </a:lnTo>
                  <a:lnTo>
                    <a:pt x="220002" y="0"/>
                  </a:lnTo>
                  <a:lnTo>
                    <a:pt x="220002" y="73660"/>
                  </a:lnTo>
                  <a:lnTo>
                    <a:pt x="220002" y="99060"/>
                  </a:lnTo>
                  <a:lnTo>
                    <a:pt x="220002" y="180340"/>
                  </a:lnTo>
                  <a:lnTo>
                    <a:pt x="249478" y="180340"/>
                  </a:lnTo>
                  <a:lnTo>
                    <a:pt x="249478" y="99060"/>
                  </a:lnTo>
                  <a:lnTo>
                    <a:pt x="332587" y="99060"/>
                  </a:lnTo>
                  <a:lnTo>
                    <a:pt x="332587" y="180340"/>
                  </a:lnTo>
                  <a:lnTo>
                    <a:pt x="362191" y="180340"/>
                  </a:lnTo>
                  <a:lnTo>
                    <a:pt x="362191" y="99060"/>
                  </a:lnTo>
                  <a:lnTo>
                    <a:pt x="362191" y="73660"/>
                  </a:lnTo>
                  <a:lnTo>
                    <a:pt x="362191" y="0"/>
                  </a:lnTo>
                  <a:close/>
                </a:path>
              </a:pathLst>
            </a:custGeom>
            <a:solidFill>
              <a:srgbClr val="7A7C81"/>
            </a:solidFill>
          </p:spPr>
          <p:txBody>
            <a:bodyPr wrap="square" lIns="0" tIns="0" rIns="0" bIns="0" rtlCol="0"/>
            <a:lstStyle/>
            <a:p>
              <a:endParaRPr lang="en-US" sz="960" dirty="0"/>
            </a:p>
          </p:txBody>
        </p:sp>
        <p:pic>
          <p:nvPicPr>
            <p:cNvPr id="13" name="object 13">
              <a:extLst>
                <a:ext uri="{FF2B5EF4-FFF2-40B4-BE49-F238E27FC236}">
                  <a16:creationId xmlns:a16="http://schemas.microsoft.com/office/drawing/2014/main" id="{F2A71912-4866-DBAA-A2E8-660464EFDF5C}"/>
                </a:ext>
              </a:extLst>
            </p:cNvPr>
            <p:cNvPicPr/>
            <p:nvPr/>
          </p:nvPicPr>
          <p:blipFill>
            <a:blip r:embed="rId8" cstate="print"/>
            <a:stretch>
              <a:fillRect/>
            </a:stretch>
          </p:blipFill>
          <p:spPr>
            <a:xfrm>
              <a:off x="18717022" y="11299886"/>
              <a:ext cx="168947" cy="185596"/>
            </a:xfrm>
            <a:prstGeom prst="rect">
              <a:avLst/>
            </a:prstGeom>
          </p:spPr>
        </p:pic>
        <p:pic>
          <p:nvPicPr>
            <p:cNvPr id="14" name="object 14">
              <a:extLst>
                <a:ext uri="{FF2B5EF4-FFF2-40B4-BE49-F238E27FC236}">
                  <a16:creationId xmlns:a16="http://schemas.microsoft.com/office/drawing/2014/main" id="{52645FCB-5846-0F9A-C6FE-003765E4F6DA}"/>
                </a:ext>
              </a:extLst>
            </p:cNvPr>
            <p:cNvPicPr/>
            <p:nvPr/>
          </p:nvPicPr>
          <p:blipFill>
            <a:blip r:embed="rId9" cstate="print"/>
            <a:stretch>
              <a:fillRect/>
            </a:stretch>
          </p:blipFill>
          <p:spPr>
            <a:xfrm>
              <a:off x="18923084" y="11302724"/>
              <a:ext cx="142927" cy="182758"/>
            </a:xfrm>
            <a:prstGeom prst="rect">
              <a:avLst/>
            </a:prstGeom>
          </p:spPr>
        </p:pic>
        <p:sp>
          <p:nvSpPr>
            <p:cNvPr id="15" name="object 15">
              <a:extLst>
                <a:ext uri="{FF2B5EF4-FFF2-40B4-BE49-F238E27FC236}">
                  <a16:creationId xmlns:a16="http://schemas.microsoft.com/office/drawing/2014/main" id="{02492A05-38AE-96B5-4E17-81C03DD6B1B6}"/>
                </a:ext>
              </a:extLst>
            </p:cNvPr>
            <p:cNvSpPr/>
            <p:nvPr/>
          </p:nvSpPr>
          <p:spPr>
            <a:xfrm>
              <a:off x="18065725" y="11302681"/>
              <a:ext cx="1162050" cy="445134"/>
            </a:xfrm>
            <a:custGeom>
              <a:avLst/>
              <a:gdLst/>
              <a:ahLst/>
              <a:cxnLst/>
              <a:rect l="l" t="t" r="r" b="b"/>
              <a:pathLst>
                <a:path w="1162050" h="445134">
                  <a:moveTo>
                    <a:pt x="98767" y="433133"/>
                  </a:moveTo>
                  <a:lnTo>
                    <a:pt x="12598" y="433133"/>
                  </a:lnTo>
                  <a:lnTo>
                    <a:pt x="12598" y="264223"/>
                  </a:lnTo>
                  <a:lnTo>
                    <a:pt x="0" y="264223"/>
                  </a:lnTo>
                  <a:lnTo>
                    <a:pt x="0" y="433133"/>
                  </a:lnTo>
                  <a:lnTo>
                    <a:pt x="0" y="444563"/>
                  </a:lnTo>
                  <a:lnTo>
                    <a:pt x="98767" y="444563"/>
                  </a:lnTo>
                  <a:lnTo>
                    <a:pt x="98767" y="433133"/>
                  </a:lnTo>
                  <a:close/>
                </a:path>
                <a:path w="1162050" h="445134">
                  <a:moveTo>
                    <a:pt x="142532" y="263829"/>
                  </a:moveTo>
                  <a:lnTo>
                    <a:pt x="129921" y="263829"/>
                  </a:lnTo>
                  <a:lnTo>
                    <a:pt x="129921" y="444563"/>
                  </a:lnTo>
                  <a:lnTo>
                    <a:pt x="142532" y="444563"/>
                  </a:lnTo>
                  <a:lnTo>
                    <a:pt x="142532" y="263829"/>
                  </a:lnTo>
                  <a:close/>
                </a:path>
                <a:path w="1162050" h="445134">
                  <a:moveTo>
                    <a:pt x="299529" y="264223"/>
                  </a:moveTo>
                  <a:lnTo>
                    <a:pt x="169354" y="264223"/>
                  </a:lnTo>
                  <a:lnTo>
                    <a:pt x="169354" y="275653"/>
                  </a:lnTo>
                  <a:lnTo>
                    <a:pt x="228079" y="275653"/>
                  </a:lnTo>
                  <a:lnTo>
                    <a:pt x="228079" y="444563"/>
                  </a:lnTo>
                  <a:lnTo>
                    <a:pt x="240804" y="444563"/>
                  </a:lnTo>
                  <a:lnTo>
                    <a:pt x="240804" y="275653"/>
                  </a:lnTo>
                  <a:lnTo>
                    <a:pt x="299529" y="275653"/>
                  </a:lnTo>
                  <a:lnTo>
                    <a:pt x="299529" y="264223"/>
                  </a:lnTo>
                  <a:close/>
                </a:path>
                <a:path w="1162050" h="445134">
                  <a:moveTo>
                    <a:pt x="338963" y="263829"/>
                  </a:moveTo>
                  <a:lnTo>
                    <a:pt x="326351" y="263829"/>
                  </a:lnTo>
                  <a:lnTo>
                    <a:pt x="326351" y="444563"/>
                  </a:lnTo>
                  <a:lnTo>
                    <a:pt x="338963" y="444563"/>
                  </a:lnTo>
                  <a:lnTo>
                    <a:pt x="338963" y="263829"/>
                  </a:lnTo>
                  <a:close/>
                </a:path>
                <a:path w="1162050" h="445134">
                  <a:moveTo>
                    <a:pt x="1161707" y="0"/>
                  </a:moveTo>
                  <a:lnTo>
                    <a:pt x="1026172" y="0"/>
                  </a:lnTo>
                  <a:lnTo>
                    <a:pt x="1026172" y="25400"/>
                  </a:lnTo>
                  <a:lnTo>
                    <a:pt x="1079195" y="25400"/>
                  </a:lnTo>
                  <a:lnTo>
                    <a:pt x="1079195" y="180340"/>
                  </a:lnTo>
                  <a:lnTo>
                    <a:pt x="1108671" y="180340"/>
                  </a:lnTo>
                  <a:lnTo>
                    <a:pt x="1108671" y="25400"/>
                  </a:lnTo>
                  <a:lnTo>
                    <a:pt x="1161707" y="25400"/>
                  </a:lnTo>
                  <a:lnTo>
                    <a:pt x="1161707" y="0"/>
                  </a:lnTo>
                  <a:close/>
                </a:path>
              </a:pathLst>
            </a:custGeom>
            <a:solidFill>
              <a:srgbClr val="7A7C81"/>
            </a:solidFill>
          </p:spPr>
          <p:txBody>
            <a:bodyPr wrap="square" lIns="0" tIns="0" rIns="0" bIns="0" rtlCol="0"/>
            <a:lstStyle/>
            <a:p>
              <a:endParaRPr lang="en-US" sz="960" dirty="0"/>
            </a:p>
          </p:txBody>
        </p:sp>
        <p:pic>
          <p:nvPicPr>
            <p:cNvPr id="16" name="object 16">
              <a:extLst>
                <a:ext uri="{FF2B5EF4-FFF2-40B4-BE49-F238E27FC236}">
                  <a16:creationId xmlns:a16="http://schemas.microsoft.com/office/drawing/2014/main" id="{45B5EDCB-8DAE-FD46-0C3B-B9ED030C7C71}"/>
                </a:ext>
              </a:extLst>
            </p:cNvPr>
            <p:cNvPicPr/>
            <p:nvPr/>
          </p:nvPicPr>
          <p:blipFill>
            <a:blip r:embed="rId10" cstate="print"/>
            <a:stretch>
              <a:fillRect/>
            </a:stretch>
          </p:blipFill>
          <p:spPr>
            <a:xfrm>
              <a:off x="18446220" y="11563659"/>
              <a:ext cx="147367" cy="186046"/>
            </a:xfrm>
            <a:prstGeom prst="rect">
              <a:avLst/>
            </a:prstGeom>
          </p:spPr>
        </p:pic>
        <p:pic>
          <p:nvPicPr>
            <p:cNvPr id="17" name="object 17">
              <a:extLst>
                <a:ext uri="{FF2B5EF4-FFF2-40B4-BE49-F238E27FC236}">
                  <a16:creationId xmlns:a16="http://schemas.microsoft.com/office/drawing/2014/main" id="{FBE399F9-C0AF-8764-7D08-8092FD7F92CF}"/>
                </a:ext>
              </a:extLst>
            </p:cNvPr>
            <p:cNvPicPr/>
            <p:nvPr/>
          </p:nvPicPr>
          <p:blipFill>
            <a:blip r:embed="rId11" cstate="print"/>
            <a:stretch>
              <a:fillRect/>
            </a:stretch>
          </p:blipFill>
          <p:spPr>
            <a:xfrm>
              <a:off x="18613357" y="11565767"/>
              <a:ext cx="283342" cy="181470"/>
            </a:xfrm>
            <a:prstGeom prst="rect">
              <a:avLst/>
            </a:prstGeom>
          </p:spPr>
        </p:pic>
        <p:sp>
          <p:nvSpPr>
            <p:cNvPr id="18" name="object 18">
              <a:extLst>
                <a:ext uri="{FF2B5EF4-FFF2-40B4-BE49-F238E27FC236}">
                  <a16:creationId xmlns:a16="http://schemas.microsoft.com/office/drawing/2014/main" id="{130A2639-3E46-5005-46DE-4BE92EAF5D42}"/>
                </a:ext>
              </a:extLst>
            </p:cNvPr>
            <p:cNvSpPr/>
            <p:nvPr/>
          </p:nvSpPr>
          <p:spPr>
            <a:xfrm>
              <a:off x="18923528" y="11566506"/>
              <a:ext cx="12700" cy="180975"/>
            </a:xfrm>
            <a:custGeom>
              <a:avLst/>
              <a:gdLst/>
              <a:ahLst/>
              <a:cxnLst/>
              <a:rect l="l" t="t" r="r" b="b"/>
              <a:pathLst>
                <a:path w="12700" h="180975">
                  <a:moveTo>
                    <a:pt x="12606" y="0"/>
                  </a:moveTo>
                  <a:lnTo>
                    <a:pt x="0" y="0"/>
                  </a:lnTo>
                  <a:lnTo>
                    <a:pt x="0" y="180727"/>
                  </a:lnTo>
                  <a:lnTo>
                    <a:pt x="12606" y="180727"/>
                  </a:lnTo>
                  <a:lnTo>
                    <a:pt x="12606" y="0"/>
                  </a:lnTo>
                  <a:close/>
                </a:path>
              </a:pathLst>
            </a:custGeom>
            <a:solidFill>
              <a:srgbClr val="7A7C81"/>
            </a:solidFill>
          </p:spPr>
          <p:txBody>
            <a:bodyPr wrap="square" lIns="0" tIns="0" rIns="0" bIns="0" rtlCol="0"/>
            <a:lstStyle/>
            <a:p>
              <a:endParaRPr lang="en-US" sz="960" dirty="0"/>
            </a:p>
          </p:txBody>
        </p:sp>
        <p:pic>
          <p:nvPicPr>
            <p:cNvPr id="19" name="object 19">
              <a:extLst>
                <a:ext uri="{FF2B5EF4-FFF2-40B4-BE49-F238E27FC236}">
                  <a16:creationId xmlns:a16="http://schemas.microsoft.com/office/drawing/2014/main" id="{83ECB15C-8AA9-F537-F339-8A03B8F616C7}"/>
                </a:ext>
              </a:extLst>
            </p:cNvPr>
            <p:cNvPicPr/>
            <p:nvPr/>
          </p:nvPicPr>
          <p:blipFill>
            <a:blip r:embed="rId12" cstate="print"/>
            <a:stretch>
              <a:fillRect/>
            </a:stretch>
          </p:blipFill>
          <p:spPr>
            <a:xfrm>
              <a:off x="18977667" y="11563661"/>
              <a:ext cx="161576" cy="186046"/>
            </a:xfrm>
            <a:prstGeom prst="rect">
              <a:avLst/>
            </a:prstGeom>
          </p:spPr>
        </p:pic>
        <p:pic>
          <p:nvPicPr>
            <p:cNvPr id="20" name="object 20">
              <a:extLst>
                <a:ext uri="{FF2B5EF4-FFF2-40B4-BE49-F238E27FC236}">
                  <a16:creationId xmlns:a16="http://schemas.microsoft.com/office/drawing/2014/main" id="{020729E3-7DC2-1623-E63B-EAD583242548}"/>
                </a:ext>
              </a:extLst>
            </p:cNvPr>
            <p:cNvPicPr/>
            <p:nvPr/>
          </p:nvPicPr>
          <p:blipFill>
            <a:blip r:embed="rId13" cstate="print"/>
            <a:stretch>
              <a:fillRect/>
            </a:stretch>
          </p:blipFill>
          <p:spPr>
            <a:xfrm>
              <a:off x="19180778" y="11566509"/>
              <a:ext cx="131409" cy="180727"/>
            </a:xfrm>
            <a:prstGeom prst="rect">
              <a:avLst/>
            </a:prstGeom>
          </p:spPr>
        </p:pic>
        <p:sp>
          <p:nvSpPr>
            <p:cNvPr id="21" name="object 21">
              <a:extLst>
                <a:ext uri="{FF2B5EF4-FFF2-40B4-BE49-F238E27FC236}">
                  <a16:creationId xmlns:a16="http://schemas.microsoft.com/office/drawing/2014/main" id="{AB422669-B6EB-FD5B-5358-C9F6B4D0FF8D}"/>
                </a:ext>
              </a:extLst>
            </p:cNvPr>
            <p:cNvSpPr/>
            <p:nvPr/>
          </p:nvSpPr>
          <p:spPr>
            <a:xfrm>
              <a:off x="17305002" y="11018376"/>
              <a:ext cx="513715" cy="76200"/>
            </a:xfrm>
            <a:custGeom>
              <a:avLst/>
              <a:gdLst/>
              <a:ahLst/>
              <a:cxnLst/>
              <a:rect l="l" t="t" r="r" b="b"/>
              <a:pathLst>
                <a:path w="513715" h="76200">
                  <a:moveTo>
                    <a:pt x="513418" y="0"/>
                  </a:moveTo>
                  <a:lnTo>
                    <a:pt x="0" y="0"/>
                  </a:lnTo>
                  <a:lnTo>
                    <a:pt x="0" y="76050"/>
                  </a:lnTo>
                  <a:lnTo>
                    <a:pt x="513418" y="76050"/>
                  </a:lnTo>
                  <a:lnTo>
                    <a:pt x="513418" y="0"/>
                  </a:lnTo>
                  <a:close/>
                </a:path>
              </a:pathLst>
            </a:custGeom>
            <a:solidFill>
              <a:srgbClr val="A78A4C"/>
            </a:solidFill>
          </p:spPr>
          <p:txBody>
            <a:bodyPr wrap="square" lIns="0" tIns="0" rIns="0" bIns="0" rtlCol="0"/>
            <a:lstStyle/>
            <a:p>
              <a:endParaRPr lang="en-US" sz="960" dirty="0"/>
            </a:p>
          </p:txBody>
        </p:sp>
        <p:sp>
          <p:nvSpPr>
            <p:cNvPr id="22" name="object 22">
              <a:extLst>
                <a:ext uri="{FF2B5EF4-FFF2-40B4-BE49-F238E27FC236}">
                  <a16:creationId xmlns:a16="http://schemas.microsoft.com/office/drawing/2014/main" id="{AB591573-0BB5-1AAF-5DB0-DDE13D1B78EF}"/>
                </a:ext>
              </a:extLst>
            </p:cNvPr>
            <p:cNvSpPr/>
            <p:nvPr/>
          </p:nvSpPr>
          <p:spPr>
            <a:xfrm>
              <a:off x="15884111" y="10541781"/>
              <a:ext cx="4220210" cy="2306320"/>
            </a:xfrm>
            <a:custGeom>
              <a:avLst/>
              <a:gdLst/>
              <a:ahLst/>
              <a:cxnLst/>
              <a:rect l="l" t="t" r="r" b="b"/>
              <a:pathLst>
                <a:path w="4220209" h="2306320">
                  <a:moveTo>
                    <a:pt x="4219988" y="815958"/>
                  </a:moveTo>
                  <a:lnTo>
                    <a:pt x="4191904" y="882755"/>
                  </a:lnTo>
                  <a:lnTo>
                    <a:pt x="4172368" y="925143"/>
                  </a:lnTo>
                  <a:lnTo>
                    <a:pt x="4151819" y="966953"/>
                  </a:lnTo>
                  <a:lnTo>
                    <a:pt x="4130274" y="1008168"/>
                  </a:lnTo>
                  <a:lnTo>
                    <a:pt x="4107749" y="1048774"/>
                  </a:lnTo>
                  <a:lnTo>
                    <a:pt x="4084260" y="1088754"/>
                  </a:lnTo>
                  <a:lnTo>
                    <a:pt x="4059821" y="1128093"/>
                  </a:lnTo>
                  <a:lnTo>
                    <a:pt x="4034449" y="1166773"/>
                  </a:lnTo>
                  <a:lnTo>
                    <a:pt x="4008160" y="1204781"/>
                  </a:lnTo>
                  <a:lnTo>
                    <a:pt x="3980969" y="1242098"/>
                  </a:lnTo>
                  <a:lnTo>
                    <a:pt x="3952893" y="1278711"/>
                  </a:lnTo>
                  <a:lnTo>
                    <a:pt x="3923946" y="1314603"/>
                  </a:lnTo>
                  <a:lnTo>
                    <a:pt x="3894144" y="1349757"/>
                  </a:lnTo>
                  <a:lnTo>
                    <a:pt x="3863505" y="1384159"/>
                  </a:lnTo>
                  <a:lnTo>
                    <a:pt x="3832042" y="1417791"/>
                  </a:lnTo>
                  <a:lnTo>
                    <a:pt x="3799772" y="1450639"/>
                  </a:lnTo>
                  <a:lnTo>
                    <a:pt x="3766711" y="1482687"/>
                  </a:lnTo>
                  <a:lnTo>
                    <a:pt x="3732874" y="1513918"/>
                  </a:lnTo>
                  <a:lnTo>
                    <a:pt x="3698277" y="1544317"/>
                  </a:lnTo>
                  <a:lnTo>
                    <a:pt x="3662937" y="1573867"/>
                  </a:lnTo>
                  <a:lnTo>
                    <a:pt x="3626868" y="1602554"/>
                  </a:lnTo>
                  <a:lnTo>
                    <a:pt x="3590086" y="1630360"/>
                  </a:lnTo>
                  <a:lnTo>
                    <a:pt x="3552607" y="1657271"/>
                  </a:lnTo>
                  <a:lnTo>
                    <a:pt x="3514448" y="1683270"/>
                  </a:lnTo>
                  <a:lnTo>
                    <a:pt x="3475623" y="1708341"/>
                  </a:lnTo>
                  <a:lnTo>
                    <a:pt x="3436148" y="1732468"/>
                  </a:lnTo>
                  <a:lnTo>
                    <a:pt x="3396040" y="1755637"/>
                  </a:lnTo>
                  <a:lnTo>
                    <a:pt x="3355314" y="1777830"/>
                  </a:lnTo>
                  <a:lnTo>
                    <a:pt x="3313985" y="1799031"/>
                  </a:lnTo>
                  <a:lnTo>
                    <a:pt x="3272070" y="1819226"/>
                  </a:lnTo>
                  <a:lnTo>
                    <a:pt x="3229584" y="1838398"/>
                  </a:lnTo>
                  <a:lnTo>
                    <a:pt x="3186543" y="1856530"/>
                  </a:lnTo>
                  <a:lnTo>
                    <a:pt x="3142962" y="1873609"/>
                  </a:lnTo>
                  <a:lnTo>
                    <a:pt x="3098858" y="1889616"/>
                  </a:lnTo>
                  <a:lnTo>
                    <a:pt x="3054247" y="1904537"/>
                  </a:lnTo>
                  <a:lnTo>
                    <a:pt x="3009143" y="1918356"/>
                  </a:lnTo>
                  <a:lnTo>
                    <a:pt x="2963563" y="1931056"/>
                  </a:lnTo>
                  <a:lnTo>
                    <a:pt x="2917522" y="1942622"/>
                  </a:lnTo>
                  <a:lnTo>
                    <a:pt x="2871037" y="1953038"/>
                  </a:lnTo>
                  <a:lnTo>
                    <a:pt x="2824123" y="1962288"/>
                  </a:lnTo>
                  <a:lnTo>
                    <a:pt x="2776795" y="1970357"/>
                  </a:lnTo>
                  <a:lnTo>
                    <a:pt x="2729070" y="1977227"/>
                  </a:lnTo>
                  <a:lnTo>
                    <a:pt x="2680963" y="1982885"/>
                  </a:lnTo>
                  <a:lnTo>
                    <a:pt x="2632491" y="1987312"/>
                  </a:lnTo>
                  <a:lnTo>
                    <a:pt x="2583668" y="1990494"/>
                  </a:lnTo>
                  <a:lnTo>
                    <a:pt x="2534510" y="1992415"/>
                  </a:lnTo>
                  <a:lnTo>
                    <a:pt x="2485034" y="1993059"/>
                  </a:lnTo>
                  <a:lnTo>
                    <a:pt x="2436764" y="1992447"/>
                  </a:lnTo>
                  <a:lnTo>
                    <a:pt x="2388796" y="1990619"/>
                  </a:lnTo>
                  <a:lnTo>
                    <a:pt x="2341143" y="1987591"/>
                  </a:lnTo>
                  <a:lnTo>
                    <a:pt x="2293821" y="1983377"/>
                  </a:lnTo>
                  <a:lnTo>
                    <a:pt x="2246844" y="1977992"/>
                  </a:lnTo>
                  <a:lnTo>
                    <a:pt x="2200227" y="1971450"/>
                  </a:lnTo>
                  <a:lnTo>
                    <a:pt x="2153985" y="1963767"/>
                  </a:lnTo>
                  <a:lnTo>
                    <a:pt x="2108132" y="1954958"/>
                  </a:lnTo>
                  <a:lnTo>
                    <a:pt x="2062683" y="1945036"/>
                  </a:lnTo>
                  <a:lnTo>
                    <a:pt x="2017652" y="1934016"/>
                  </a:lnTo>
                  <a:lnTo>
                    <a:pt x="1973055" y="1921914"/>
                  </a:lnTo>
                  <a:lnTo>
                    <a:pt x="1928906" y="1908745"/>
                  </a:lnTo>
                  <a:lnTo>
                    <a:pt x="1885220" y="1894521"/>
                  </a:lnTo>
                  <a:lnTo>
                    <a:pt x="1842011" y="1879260"/>
                  </a:lnTo>
                  <a:lnTo>
                    <a:pt x="1799294" y="1862975"/>
                  </a:lnTo>
                  <a:lnTo>
                    <a:pt x="1757084" y="1845680"/>
                  </a:lnTo>
                  <a:lnTo>
                    <a:pt x="1715395" y="1827392"/>
                  </a:lnTo>
                  <a:lnTo>
                    <a:pt x="1674242" y="1808123"/>
                  </a:lnTo>
                  <a:lnTo>
                    <a:pt x="1633641" y="1787890"/>
                  </a:lnTo>
                  <a:lnTo>
                    <a:pt x="1593605" y="1766707"/>
                  </a:lnTo>
                  <a:lnTo>
                    <a:pt x="1554149" y="1744589"/>
                  </a:lnTo>
                  <a:lnTo>
                    <a:pt x="1515288" y="1721550"/>
                  </a:lnTo>
                  <a:lnTo>
                    <a:pt x="1477037" y="1697605"/>
                  </a:lnTo>
                  <a:lnTo>
                    <a:pt x="1439410" y="1672769"/>
                  </a:lnTo>
                  <a:lnTo>
                    <a:pt x="1402422" y="1647056"/>
                  </a:lnTo>
                  <a:lnTo>
                    <a:pt x="1366087" y="1620482"/>
                  </a:lnTo>
                  <a:lnTo>
                    <a:pt x="1330421" y="1593060"/>
                  </a:lnTo>
                  <a:lnTo>
                    <a:pt x="1295438" y="1564807"/>
                  </a:lnTo>
                  <a:lnTo>
                    <a:pt x="1261153" y="1535736"/>
                  </a:lnTo>
                  <a:lnTo>
                    <a:pt x="1227580" y="1505862"/>
                  </a:lnTo>
                  <a:lnTo>
                    <a:pt x="1194734" y="1475200"/>
                  </a:lnTo>
                  <a:lnTo>
                    <a:pt x="1162630" y="1443764"/>
                  </a:lnTo>
                  <a:lnTo>
                    <a:pt x="1131283" y="1411570"/>
                  </a:lnTo>
                  <a:lnTo>
                    <a:pt x="1100707" y="1378633"/>
                  </a:lnTo>
                  <a:lnTo>
                    <a:pt x="1070916" y="1344966"/>
                  </a:lnTo>
                  <a:lnTo>
                    <a:pt x="1041926" y="1310584"/>
                  </a:lnTo>
                  <a:lnTo>
                    <a:pt x="1013752" y="1275503"/>
                  </a:lnTo>
                  <a:lnTo>
                    <a:pt x="986407" y="1239737"/>
                  </a:lnTo>
                  <a:lnTo>
                    <a:pt x="959907" y="1203301"/>
                  </a:lnTo>
                  <a:lnTo>
                    <a:pt x="934266" y="1166209"/>
                  </a:lnTo>
                  <a:lnTo>
                    <a:pt x="909500" y="1128476"/>
                  </a:lnTo>
                  <a:lnTo>
                    <a:pt x="885621" y="1090118"/>
                  </a:lnTo>
                  <a:lnTo>
                    <a:pt x="862647" y="1051148"/>
                  </a:lnTo>
                  <a:lnTo>
                    <a:pt x="840590" y="1011581"/>
                  </a:lnTo>
                  <a:lnTo>
                    <a:pt x="819466" y="971433"/>
                  </a:lnTo>
                  <a:lnTo>
                    <a:pt x="799290" y="930717"/>
                  </a:lnTo>
                  <a:lnTo>
                    <a:pt x="780076" y="889449"/>
                  </a:lnTo>
                  <a:lnTo>
                    <a:pt x="761838" y="847644"/>
                  </a:lnTo>
                  <a:lnTo>
                    <a:pt x="744592" y="805315"/>
                  </a:lnTo>
                  <a:lnTo>
                    <a:pt x="728352" y="762479"/>
                  </a:lnTo>
                  <a:lnTo>
                    <a:pt x="713133" y="719148"/>
                  </a:lnTo>
                  <a:lnTo>
                    <a:pt x="698950" y="675339"/>
                  </a:lnTo>
                  <a:lnTo>
                    <a:pt x="685817" y="631066"/>
                  </a:lnTo>
                  <a:lnTo>
                    <a:pt x="673749" y="586344"/>
                  </a:lnTo>
                  <a:lnTo>
                    <a:pt x="662760" y="541187"/>
                  </a:lnTo>
                  <a:lnTo>
                    <a:pt x="652866" y="495610"/>
                  </a:lnTo>
                  <a:lnTo>
                    <a:pt x="644081" y="449629"/>
                  </a:lnTo>
                  <a:lnTo>
                    <a:pt x="636419" y="403256"/>
                  </a:lnTo>
                  <a:lnTo>
                    <a:pt x="629896" y="356509"/>
                  </a:lnTo>
                  <a:lnTo>
                    <a:pt x="624526" y="309400"/>
                  </a:lnTo>
                  <a:lnTo>
                    <a:pt x="620324" y="261945"/>
                  </a:lnTo>
                  <a:lnTo>
                    <a:pt x="617304" y="214159"/>
                  </a:lnTo>
                  <a:lnTo>
                    <a:pt x="615482" y="166055"/>
                  </a:lnTo>
                  <a:lnTo>
                    <a:pt x="614871" y="117650"/>
                  </a:lnTo>
                  <a:lnTo>
                    <a:pt x="615459" y="88007"/>
                  </a:lnTo>
                  <a:lnTo>
                    <a:pt x="616934" y="58593"/>
                  </a:lnTo>
                  <a:lnTo>
                    <a:pt x="618864" y="29295"/>
                  </a:lnTo>
                  <a:lnTo>
                    <a:pt x="620818" y="0"/>
                  </a:lnTo>
                  <a:lnTo>
                    <a:pt x="0" y="0"/>
                  </a:lnTo>
                  <a:lnTo>
                    <a:pt x="0" y="112425"/>
                  </a:lnTo>
                  <a:lnTo>
                    <a:pt x="462" y="160786"/>
                  </a:lnTo>
                  <a:lnTo>
                    <a:pt x="1844" y="208927"/>
                  </a:lnTo>
                  <a:lnTo>
                    <a:pt x="4137" y="256837"/>
                  </a:lnTo>
                  <a:lnTo>
                    <a:pt x="7333" y="304511"/>
                  </a:lnTo>
                  <a:lnTo>
                    <a:pt x="11422" y="351938"/>
                  </a:lnTo>
                  <a:lnTo>
                    <a:pt x="16398" y="399110"/>
                  </a:lnTo>
                  <a:lnTo>
                    <a:pt x="22251" y="446020"/>
                  </a:lnTo>
                  <a:lnTo>
                    <a:pt x="28973" y="492658"/>
                  </a:lnTo>
                  <a:lnTo>
                    <a:pt x="36555" y="539017"/>
                  </a:lnTo>
                  <a:lnTo>
                    <a:pt x="44990" y="585087"/>
                  </a:lnTo>
                  <a:lnTo>
                    <a:pt x="54268" y="630861"/>
                  </a:lnTo>
                  <a:lnTo>
                    <a:pt x="64382" y="676330"/>
                  </a:lnTo>
                  <a:lnTo>
                    <a:pt x="75322" y="721485"/>
                  </a:lnTo>
                  <a:lnTo>
                    <a:pt x="87081" y="766318"/>
                  </a:lnTo>
                  <a:lnTo>
                    <a:pt x="99650" y="810822"/>
                  </a:lnTo>
                  <a:lnTo>
                    <a:pt x="113021" y="854986"/>
                  </a:lnTo>
                  <a:lnTo>
                    <a:pt x="127185" y="898803"/>
                  </a:lnTo>
                  <a:lnTo>
                    <a:pt x="142133" y="942265"/>
                  </a:lnTo>
                  <a:lnTo>
                    <a:pt x="157858" y="985363"/>
                  </a:lnTo>
                  <a:lnTo>
                    <a:pt x="174351" y="1028088"/>
                  </a:lnTo>
                  <a:lnTo>
                    <a:pt x="191604" y="1070433"/>
                  </a:lnTo>
                  <a:lnTo>
                    <a:pt x="209607" y="1112388"/>
                  </a:lnTo>
                  <a:lnTo>
                    <a:pt x="228354" y="1153946"/>
                  </a:lnTo>
                  <a:lnTo>
                    <a:pt x="247835" y="1195098"/>
                  </a:lnTo>
                  <a:lnTo>
                    <a:pt x="268041" y="1235835"/>
                  </a:lnTo>
                  <a:lnTo>
                    <a:pt x="288965" y="1276149"/>
                  </a:lnTo>
                  <a:lnTo>
                    <a:pt x="310599" y="1316032"/>
                  </a:lnTo>
                  <a:lnTo>
                    <a:pt x="332932" y="1355475"/>
                  </a:lnTo>
                  <a:lnTo>
                    <a:pt x="355959" y="1394471"/>
                  </a:lnTo>
                  <a:lnTo>
                    <a:pt x="379668" y="1433009"/>
                  </a:lnTo>
                  <a:lnTo>
                    <a:pt x="404054" y="1471083"/>
                  </a:lnTo>
                  <a:lnTo>
                    <a:pt x="429106" y="1508683"/>
                  </a:lnTo>
                  <a:lnTo>
                    <a:pt x="454817" y="1545801"/>
                  </a:lnTo>
                  <a:lnTo>
                    <a:pt x="481178" y="1582429"/>
                  </a:lnTo>
                  <a:lnTo>
                    <a:pt x="508181" y="1618559"/>
                  </a:lnTo>
                  <a:lnTo>
                    <a:pt x="535817" y="1654181"/>
                  </a:lnTo>
                  <a:lnTo>
                    <a:pt x="564078" y="1689288"/>
                  </a:lnTo>
                  <a:lnTo>
                    <a:pt x="592956" y="1723871"/>
                  </a:lnTo>
                  <a:lnTo>
                    <a:pt x="622441" y="1757922"/>
                  </a:lnTo>
                  <a:lnTo>
                    <a:pt x="652527" y="1791432"/>
                  </a:lnTo>
                  <a:lnTo>
                    <a:pt x="683203" y="1824392"/>
                  </a:lnTo>
                  <a:lnTo>
                    <a:pt x="714463" y="1856796"/>
                  </a:lnTo>
                  <a:lnTo>
                    <a:pt x="746297" y="1888633"/>
                  </a:lnTo>
                  <a:lnTo>
                    <a:pt x="778697" y="1919895"/>
                  </a:lnTo>
                  <a:lnTo>
                    <a:pt x="811654" y="1950575"/>
                  </a:lnTo>
                  <a:lnTo>
                    <a:pt x="845161" y="1980664"/>
                  </a:lnTo>
                  <a:lnTo>
                    <a:pt x="879208" y="2010153"/>
                  </a:lnTo>
                  <a:lnTo>
                    <a:pt x="913788" y="2039033"/>
                  </a:lnTo>
                  <a:lnTo>
                    <a:pt x="948892" y="2067298"/>
                  </a:lnTo>
                  <a:lnTo>
                    <a:pt x="984511" y="2094937"/>
                  </a:lnTo>
                  <a:lnTo>
                    <a:pt x="1020637" y="2121943"/>
                  </a:lnTo>
                  <a:lnTo>
                    <a:pt x="1057262" y="2148307"/>
                  </a:lnTo>
                  <a:lnTo>
                    <a:pt x="1094378" y="2174021"/>
                  </a:lnTo>
                  <a:lnTo>
                    <a:pt x="1131975" y="2199077"/>
                  </a:lnTo>
                  <a:lnTo>
                    <a:pt x="1170046" y="2223465"/>
                  </a:lnTo>
                  <a:lnTo>
                    <a:pt x="1208582" y="2247178"/>
                  </a:lnTo>
                  <a:lnTo>
                    <a:pt x="1247574" y="2270207"/>
                  </a:lnTo>
                  <a:lnTo>
                    <a:pt x="1287014" y="2292544"/>
                  </a:lnTo>
                  <a:lnTo>
                    <a:pt x="1311807" y="2305994"/>
                  </a:lnTo>
                </a:path>
                <a:path w="4220209" h="2306320">
                  <a:moveTo>
                    <a:pt x="3669507" y="2305994"/>
                  </a:moveTo>
                  <a:lnTo>
                    <a:pt x="3733746" y="2270207"/>
                  </a:lnTo>
                  <a:lnTo>
                    <a:pt x="3772742" y="2247178"/>
                  </a:lnTo>
                  <a:lnTo>
                    <a:pt x="3811281" y="2223465"/>
                  </a:lnTo>
                  <a:lnTo>
                    <a:pt x="3849355" y="2199077"/>
                  </a:lnTo>
                  <a:lnTo>
                    <a:pt x="3886955" y="2174021"/>
                  </a:lnTo>
                  <a:lnTo>
                    <a:pt x="3924074" y="2148307"/>
                  </a:lnTo>
                  <a:lnTo>
                    <a:pt x="3960702" y="2121943"/>
                  </a:lnTo>
                  <a:lnTo>
                    <a:pt x="3996831" y="2094937"/>
                  </a:lnTo>
                  <a:lnTo>
                    <a:pt x="4032453" y="2067298"/>
                  </a:lnTo>
                  <a:lnTo>
                    <a:pt x="4067559" y="2039033"/>
                  </a:lnTo>
                  <a:lnTo>
                    <a:pt x="4102141" y="2010153"/>
                  </a:lnTo>
                  <a:lnTo>
                    <a:pt x="4136191" y="1980664"/>
                  </a:lnTo>
                  <a:lnTo>
                    <a:pt x="4169700" y="1950575"/>
                  </a:lnTo>
                  <a:lnTo>
                    <a:pt x="4202660" y="1919895"/>
                  </a:lnTo>
                  <a:lnTo>
                    <a:pt x="4219988" y="1903176"/>
                  </a:lnTo>
                </a:path>
              </a:pathLst>
            </a:custGeom>
            <a:ln w="31412">
              <a:solidFill>
                <a:srgbClr val="A78A4C"/>
              </a:solidFill>
            </a:ln>
          </p:spPr>
          <p:txBody>
            <a:bodyPr wrap="square" lIns="0" tIns="0" rIns="0" bIns="0" rtlCol="0"/>
            <a:lstStyle/>
            <a:p>
              <a:endParaRPr lang="en-US" sz="960" dirty="0"/>
            </a:p>
          </p:txBody>
        </p:sp>
      </p:grpSp>
      <p:sp>
        <p:nvSpPr>
          <p:cNvPr id="23" name="object 23">
            <a:extLst>
              <a:ext uri="{FF2B5EF4-FFF2-40B4-BE49-F238E27FC236}">
                <a16:creationId xmlns:a16="http://schemas.microsoft.com/office/drawing/2014/main" id="{8F7F3748-F007-473D-3C6D-717EF2D368E0}"/>
              </a:ext>
            </a:extLst>
          </p:cNvPr>
          <p:cNvSpPr/>
          <p:nvPr/>
        </p:nvSpPr>
        <p:spPr>
          <a:xfrm>
            <a:off x="997639" y="0"/>
            <a:ext cx="336462" cy="2357268"/>
          </a:xfrm>
          <a:custGeom>
            <a:avLst/>
            <a:gdLst/>
            <a:ahLst/>
            <a:cxnLst/>
            <a:rect l="l" t="t" r="r" b="b"/>
            <a:pathLst>
              <a:path w="630555" h="4417695">
                <a:moveTo>
                  <a:pt x="630242" y="4083639"/>
                </a:moveTo>
                <a:lnTo>
                  <a:pt x="630242" y="4073744"/>
                </a:lnTo>
                <a:lnTo>
                  <a:pt x="630106" y="4073859"/>
                </a:lnTo>
                <a:lnTo>
                  <a:pt x="629855" y="4074090"/>
                </a:lnTo>
                <a:lnTo>
                  <a:pt x="629855" y="0"/>
                </a:lnTo>
              </a:path>
              <a:path w="630555" h="4417695">
                <a:moveTo>
                  <a:pt x="2434" y="0"/>
                </a:moveTo>
                <a:lnTo>
                  <a:pt x="0" y="2699357"/>
                </a:lnTo>
                <a:lnTo>
                  <a:pt x="0" y="4417388"/>
                </a:lnTo>
                <a:lnTo>
                  <a:pt x="49735" y="4401593"/>
                </a:lnTo>
                <a:lnTo>
                  <a:pt x="98845" y="4384492"/>
                </a:lnTo>
                <a:lnTo>
                  <a:pt x="147304" y="4366102"/>
                </a:lnTo>
                <a:lnTo>
                  <a:pt x="195086" y="4346440"/>
                </a:lnTo>
                <a:lnTo>
                  <a:pt x="242168" y="4325523"/>
                </a:lnTo>
                <a:lnTo>
                  <a:pt x="288524" y="4303369"/>
                </a:lnTo>
                <a:lnTo>
                  <a:pt x="334129" y="4279994"/>
                </a:lnTo>
                <a:lnTo>
                  <a:pt x="378959" y="4255416"/>
                </a:lnTo>
                <a:lnTo>
                  <a:pt x="422987" y="4229652"/>
                </a:lnTo>
                <a:lnTo>
                  <a:pt x="466190" y="4202719"/>
                </a:lnTo>
                <a:lnTo>
                  <a:pt x="508541" y="4174634"/>
                </a:lnTo>
                <a:lnTo>
                  <a:pt x="550017" y="4145414"/>
                </a:lnTo>
                <a:lnTo>
                  <a:pt x="590593" y="4115077"/>
                </a:lnTo>
                <a:lnTo>
                  <a:pt x="630242" y="4083639"/>
                </a:lnTo>
              </a:path>
            </a:pathLst>
          </a:custGeom>
          <a:ln w="31412">
            <a:solidFill>
              <a:srgbClr val="A78A4C"/>
            </a:solidFill>
          </a:ln>
        </p:spPr>
        <p:txBody>
          <a:bodyPr wrap="square" lIns="0" tIns="0" rIns="0" bIns="0" rtlCol="0"/>
          <a:lstStyle/>
          <a:p>
            <a:endParaRPr lang="en-US" sz="960" dirty="0"/>
          </a:p>
        </p:txBody>
      </p:sp>
      <p:sp>
        <p:nvSpPr>
          <p:cNvPr id="24" name="object 24">
            <a:extLst>
              <a:ext uri="{FF2B5EF4-FFF2-40B4-BE49-F238E27FC236}">
                <a16:creationId xmlns:a16="http://schemas.microsoft.com/office/drawing/2014/main" id="{CA156BDF-3628-E24C-2E95-1C60D0B52D3F}"/>
              </a:ext>
            </a:extLst>
          </p:cNvPr>
          <p:cNvSpPr/>
          <p:nvPr/>
        </p:nvSpPr>
        <p:spPr>
          <a:xfrm>
            <a:off x="9164251" y="239452"/>
            <a:ext cx="2295600" cy="361536"/>
          </a:xfrm>
          <a:custGeom>
            <a:avLst/>
            <a:gdLst/>
            <a:ahLst/>
            <a:cxnLst/>
            <a:rect l="l" t="t" r="r" b="b"/>
            <a:pathLst>
              <a:path w="4302125" h="677544">
                <a:moveTo>
                  <a:pt x="4301921" y="0"/>
                </a:moveTo>
                <a:lnTo>
                  <a:pt x="0" y="0"/>
                </a:lnTo>
                <a:lnTo>
                  <a:pt x="0" y="677036"/>
                </a:lnTo>
                <a:lnTo>
                  <a:pt x="4301921" y="677036"/>
                </a:lnTo>
              </a:path>
            </a:pathLst>
          </a:custGeom>
          <a:ln w="31412">
            <a:solidFill>
              <a:srgbClr val="A78A4C"/>
            </a:solidFill>
          </a:ln>
        </p:spPr>
        <p:txBody>
          <a:bodyPr wrap="square" lIns="0" tIns="0" rIns="0" bIns="0" rtlCol="0"/>
          <a:lstStyle/>
          <a:p>
            <a:endParaRPr lang="en-US" sz="960" dirty="0"/>
          </a:p>
        </p:txBody>
      </p:sp>
      <p:sp>
        <p:nvSpPr>
          <p:cNvPr id="26" name="object 26">
            <a:extLst>
              <a:ext uri="{FF2B5EF4-FFF2-40B4-BE49-F238E27FC236}">
                <a16:creationId xmlns:a16="http://schemas.microsoft.com/office/drawing/2014/main" id="{D3F34EC3-F478-B786-2F5F-9EE2FD1F5A1E}"/>
              </a:ext>
            </a:extLst>
          </p:cNvPr>
          <p:cNvSpPr txBox="1">
            <a:spLocks noGrp="1"/>
          </p:cNvSpPr>
          <p:nvPr>
            <p:ph type="sldNum" sz="quarter" idx="7"/>
          </p:nvPr>
        </p:nvSpPr>
        <p:spPr>
          <a:xfrm>
            <a:off x="1279005" y="3422890"/>
            <a:ext cx="96783" cy="119135"/>
          </a:xfrm>
          <a:prstGeom prst="rect">
            <a:avLst/>
          </a:prstGeom>
        </p:spPr>
        <p:txBody>
          <a:bodyPr vert="horz" wrap="square" lIns="0" tIns="0" rIns="0" bIns="0" rtlCol="0" anchor="ctr">
            <a:spAutoFit/>
          </a:bodyPr>
          <a:lstStyle>
            <a:defPPr>
              <a:defRPr lang="de-DE"/>
            </a:defPPr>
            <a:lvl1pPr marL="0" algn="l" defTabSz="487924" rtl="0" eaLnBrk="1" latinLnBrk="0" hangingPunct="1">
              <a:defRPr sz="774" b="0" i="0" kern="1200">
                <a:solidFill>
                  <a:srgbClr val="A78A4C"/>
                </a:solidFill>
                <a:latin typeface="HelveticaNeue-Light"/>
                <a:ea typeface="+mn-ea"/>
                <a:cs typeface="HelveticaNeue-Light"/>
              </a:defRPr>
            </a:lvl1pPr>
            <a:lvl2pPr marL="243962" algn="l" defTabSz="487924" rtl="0" eaLnBrk="1" latinLnBrk="0" hangingPunct="1">
              <a:defRPr sz="960" kern="1200">
                <a:solidFill>
                  <a:schemeClr val="tx1"/>
                </a:solidFill>
                <a:latin typeface="+mn-lt"/>
                <a:ea typeface="+mn-ea"/>
                <a:cs typeface="+mn-cs"/>
              </a:defRPr>
            </a:lvl2pPr>
            <a:lvl3pPr marL="487924" algn="l" defTabSz="487924" rtl="0" eaLnBrk="1" latinLnBrk="0" hangingPunct="1">
              <a:defRPr sz="960" kern="1200">
                <a:solidFill>
                  <a:schemeClr val="tx1"/>
                </a:solidFill>
                <a:latin typeface="+mn-lt"/>
                <a:ea typeface="+mn-ea"/>
                <a:cs typeface="+mn-cs"/>
              </a:defRPr>
            </a:lvl3pPr>
            <a:lvl4pPr marL="731886" algn="l" defTabSz="487924" rtl="0" eaLnBrk="1" latinLnBrk="0" hangingPunct="1">
              <a:defRPr sz="960" kern="1200">
                <a:solidFill>
                  <a:schemeClr val="tx1"/>
                </a:solidFill>
                <a:latin typeface="+mn-lt"/>
                <a:ea typeface="+mn-ea"/>
                <a:cs typeface="+mn-cs"/>
              </a:defRPr>
            </a:lvl4pPr>
            <a:lvl5pPr marL="975848" algn="l" defTabSz="487924" rtl="0" eaLnBrk="1" latinLnBrk="0" hangingPunct="1">
              <a:defRPr sz="960" kern="1200">
                <a:solidFill>
                  <a:schemeClr val="tx1"/>
                </a:solidFill>
                <a:latin typeface="+mn-lt"/>
                <a:ea typeface="+mn-ea"/>
                <a:cs typeface="+mn-cs"/>
              </a:defRPr>
            </a:lvl5pPr>
            <a:lvl6pPr marL="1219810" algn="l" defTabSz="487924" rtl="0" eaLnBrk="1" latinLnBrk="0" hangingPunct="1">
              <a:defRPr sz="960" kern="1200">
                <a:solidFill>
                  <a:schemeClr val="tx1"/>
                </a:solidFill>
                <a:latin typeface="+mn-lt"/>
                <a:ea typeface="+mn-ea"/>
                <a:cs typeface="+mn-cs"/>
              </a:defRPr>
            </a:lvl6pPr>
            <a:lvl7pPr marL="1463772" algn="l" defTabSz="487924" rtl="0" eaLnBrk="1" latinLnBrk="0" hangingPunct="1">
              <a:defRPr sz="960" kern="1200">
                <a:solidFill>
                  <a:schemeClr val="tx1"/>
                </a:solidFill>
                <a:latin typeface="+mn-lt"/>
                <a:ea typeface="+mn-ea"/>
                <a:cs typeface="+mn-cs"/>
              </a:defRPr>
            </a:lvl7pPr>
            <a:lvl8pPr marL="1707733" algn="l" defTabSz="487924" rtl="0" eaLnBrk="1" latinLnBrk="0" hangingPunct="1">
              <a:defRPr sz="960" kern="1200">
                <a:solidFill>
                  <a:schemeClr val="tx1"/>
                </a:solidFill>
                <a:latin typeface="+mn-lt"/>
                <a:ea typeface="+mn-ea"/>
                <a:cs typeface="+mn-cs"/>
              </a:defRPr>
            </a:lvl8pPr>
            <a:lvl9pPr marL="1951695" algn="l" defTabSz="487924" rtl="0" eaLnBrk="1" latinLnBrk="0" hangingPunct="1">
              <a:defRPr sz="960" kern="1200">
                <a:solidFill>
                  <a:schemeClr val="tx1"/>
                </a:solidFill>
                <a:latin typeface="+mn-lt"/>
                <a:ea typeface="+mn-ea"/>
                <a:cs typeface="+mn-cs"/>
              </a:defRPr>
            </a:lvl9pPr>
          </a:lstStyle>
          <a:p>
            <a:pPr marL="20330">
              <a:spcBef>
                <a:spcPts val="45"/>
              </a:spcBef>
            </a:pPr>
            <a:fld id="{81D60167-4931-47E6-BA6A-407CBD079E47}" type="slidenum">
              <a:rPr lang="en-US" spc="8"/>
              <a:pPr marL="20330">
                <a:spcBef>
                  <a:spcPts val="45"/>
                </a:spcBef>
              </a:pPr>
              <a:t>2</a:t>
            </a:fld>
            <a:endParaRPr lang="en-US" spc="8" dirty="0"/>
          </a:p>
        </p:txBody>
      </p:sp>
      <p:sp>
        <p:nvSpPr>
          <p:cNvPr id="34" name="object 25">
            <a:extLst>
              <a:ext uri="{FF2B5EF4-FFF2-40B4-BE49-F238E27FC236}">
                <a16:creationId xmlns:a16="http://schemas.microsoft.com/office/drawing/2014/main" id="{CB39D252-D7FF-04E7-263F-E40D3F43C22C}"/>
              </a:ext>
            </a:extLst>
          </p:cNvPr>
          <p:cNvSpPr txBox="1">
            <a:spLocks noGrp="1"/>
          </p:cNvSpPr>
          <p:nvPr>
            <p:ph type="body" idx="4294967295"/>
          </p:nvPr>
        </p:nvSpPr>
        <p:spPr>
          <a:xfrm>
            <a:off x="1632709" y="2737779"/>
            <a:ext cx="3487449" cy="1173231"/>
          </a:xfrm>
          <a:prstGeom prst="rect">
            <a:avLst/>
          </a:prstGeom>
        </p:spPr>
        <p:txBody>
          <a:bodyPr vert="horz" wrap="square" lIns="0" tIns="6438" rIns="0" bIns="0" rtlCol="0">
            <a:spAutoFit/>
          </a:bodyPr>
          <a:lstStyle/>
          <a:p>
            <a:pPr marL="0" marR="17958" indent="0">
              <a:lnSpc>
                <a:spcPts val="1846"/>
              </a:lnSpc>
              <a:spcBef>
                <a:spcPts val="4343"/>
              </a:spcBef>
              <a:buNone/>
            </a:pPr>
            <a:r>
              <a:rPr lang="en-US" sz="1574" b="1"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Neoclassical Economics</a:t>
            </a:r>
            <a:endParaRPr lang="en-US" sz="1574" b="1"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0" marR="22363" indent="0">
              <a:lnSpc>
                <a:spcPct val="108800"/>
              </a:lnSpc>
              <a:spcBef>
                <a:spcPts val="1209"/>
              </a:spcBef>
              <a:buNone/>
            </a:pPr>
            <a:r>
              <a:rPr lang="en-US" sz="1281" b="1" dirty="0">
                <a:solidFill>
                  <a:srgbClr val="000000"/>
                </a:solidFill>
                <a:latin typeface="Open Sans" panose="020B0606030504020204" pitchFamily="34" charset="0"/>
                <a:ea typeface="Open Sans" panose="020B0606030504020204" pitchFamily="34" charset="0"/>
                <a:cs typeface="Open Sans" panose="020B0606030504020204" pitchFamily="34" charset="0"/>
              </a:rPr>
              <a:t>Assumption</a:t>
            </a:r>
            <a:r>
              <a:rPr lang="en-US" sz="1281" dirty="0">
                <a:solidFill>
                  <a:srgbClr val="000000"/>
                </a:solidFill>
                <a:latin typeface="Open Sans" panose="020B0606030504020204" pitchFamily="34" charset="0"/>
                <a:ea typeface="Open Sans" panose="020B0606030504020204" pitchFamily="34" charset="0"/>
                <a:cs typeface="Open Sans" panose="020B0606030504020204" pitchFamily="34" charset="0"/>
              </a:rPr>
              <a:t>: Individuals act rationally </a:t>
            </a:r>
          </a:p>
          <a:p>
            <a:pPr marL="0" marR="22363" indent="0">
              <a:lnSpc>
                <a:spcPct val="108800"/>
              </a:lnSpc>
              <a:spcBef>
                <a:spcPts val="1209"/>
              </a:spcBef>
              <a:buNone/>
            </a:pPr>
            <a:r>
              <a:rPr lang="en-US" sz="1281"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Law and Economics analyzes the law based on these assumptions</a:t>
            </a:r>
            <a:endParaRPr lang="en-US" sz="1281" i="1"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object 25">
            <a:extLst>
              <a:ext uri="{FF2B5EF4-FFF2-40B4-BE49-F238E27FC236}">
                <a16:creationId xmlns:a16="http://schemas.microsoft.com/office/drawing/2014/main" id="{6F31FC6C-7092-1781-40F6-7FB9E7F81FF9}"/>
              </a:ext>
            </a:extLst>
          </p:cNvPr>
          <p:cNvSpPr txBox="1">
            <a:spLocks/>
          </p:cNvSpPr>
          <p:nvPr/>
        </p:nvSpPr>
        <p:spPr>
          <a:xfrm>
            <a:off x="1591942" y="778840"/>
            <a:ext cx="7268943" cy="532286"/>
          </a:xfrm>
          <a:prstGeom prst="rect">
            <a:avLst/>
          </a:prstGeom>
        </p:spPr>
        <p:txBody>
          <a:bodyPr vert="horz" wrap="square" lIns="0" tIns="6438" rIns="0" bIns="0" rtlCol="0">
            <a:spAutoFit/>
          </a:bodyPr>
          <a:lstStyle>
            <a:lvl1pPr>
              <a:defRPr sz="8250" b="0" i="0">
                <a:solidFill>
                  <a:srgbClr val="7A7C81"/>
                </a:solidFill>
                <a:latin typeface="Arial"/>
                <a:ea typeface="+mj-ea"/>
                <a:cs typeface="Arial"/>
              </a:defRPr>
            </a:lvl1pPr>
          </a:lstStyle>
          <a:p>
            <a:pPr marL="6777">
              <a:lnSpc>
                <a:spcPts val="4117"/>
              </a:lnSpc>
              <a:spcBef>
                <a:spcPts val="51"/>
              </a:spcBef>
            </a:pPr>
            <a:r>
              <a:rPr lang="en-US" sz="3522"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What is Behavioral Economics?</a:t>
            </a:r>
            <a:endParaRPr lang="en-US" sz="3522"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25" name="object 25">
            <a:extLst>
              <a:ext uri="{FF2B5EF4-FFF2-40B4-BE49-F238E27FC236}">
                <a16:creationId xmlns:a16="http://schemas.microsoft.com/office/drawing/2014/main" id="{E2B851A1-EF9D-DB10-54B0-60C1310340DA}"/>
              </a:ext>
            </a:extLst>
          </p:cNvPr>
          <p:cNvSpPr txBox="1">
            <a:spLocks/>
          </p:cNvSpPr>
          <p:nvPr/>
        </p:nvSpPr>
        <p:spPr>
          <a:xfrm>
            <a:off x="5459373" y="2737779"/>
            <a:ext cx="4052074" cy="2709228"/>
          </a:xfrm>
          <a:prstGeom prst="rect">
            <a:avLst/>
          </a:prstGeom>
        </p:spPr>
        <p:txBody>
          <a:bodyPr vert="horz" wrap="square" lIns="0" tIns="6438" rIns="0" bIns="0" rtlCol="0">
            <a:sp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2007" marR="17958">
              <a:lnSpc>
                <a:spcPts val="1846"/>
              </a:lnSpc>
              <a:spcBef>
                <a:spcPts val="4343"/>
              </a:spcBef>
            </a:pPr>
            <a:r>
              <a:rPr lang="en-US" sz="1574"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Behavioral Economics</a:t>
            </a:r>
            <a:endParaRPr lang="en-US" sz="1574"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62007" marR="22363">
              <a:lnSpc>
                <a:spcPct val="108800"/>
              </a:lnSpc>
              <a:spcBef>
                <a:spcPts val="1209"/>
              </a:spcBef>
            </a:pPr>
            <a:r>
              <a:rPr lang="en-US" sz="1281" b="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Observation</a:t>
            </a: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 Individuals are subject to a variety of biases</a:t>
            </a:r>
          </a:p>
          <a:p>
            <a:pPr marL="244978" marR="22363" indent="-182971">
              <a:lnSpc>
                <a:spcPct val="108800"/>
              </a:lnSpc>
              <a:spcBef>
                <a:spcPts val="1209"/>
              </a:spcBef>
              <a:buFont typeface="Arial" panose="020B0604020202020204" pitchFamily="34" charset="0"/>
              <a:buChar char="•"/>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Bounded willpower: heuristics</a:t>
            </a:r>
          </a:p>
          <a:p>
            <a:pPr marL="244978" marR="22363" indent="-182971">
              <a:lnSpc>
                <a:spcPct val="108800"/>
              </a:lnSpc>
              <a:spcBef>
                <a:spcPts val="1209"/>
              </a:spcBef>
              <a:buFont typeface="Arial" panose="020B0604020202020204" pitchFamily="34" charset="0"/>
              <a:buChar char="•"/>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Bounded rationality: intertemporal choice</a:t>
            </a:r>
          </a:p>
          <a:p>
            <a:pPr marL="244978" marR="22363" indent="-182971">
              <a:lnSpc>
                <a:spcPct val="108800"/>
              </a:lnSpc>
              <a:spcBef>
                <a:spcPts val="1209"/>
              </a:spcBef>
              <a:buFont typeface="Arial" panose="020B0604020202020204" pitchFamily="34" charset="0"/>
              <a:buChar char="•"/>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Bounded self-interest: social preferences</a:t>
            </a:r>
          </a:p>
          <a:p>
            <a:pPr marL="62007" marR="22363">
              <a:lnSpc>
                <a:spcPct val="108800"/>
              </a:lnSpc>
              <a:spcBef>
                <a:spcPts val="1209"/>
              </a:spcBef>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n-US" sz="1281" i="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Behavioral Law and Economics suggests to modify the economic assumptions or to make use of de-biasing/nudging tools </a:t>
            </a:r>
            <a:endParaRPr lang="en-US" sz="1281" i="1"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27">
            <a:extLst>
              <a:ext uri="{FF2B5EF4-FFF2-40B4-BE49-F238E27FC236}">
                <a16:creationId xmlns:a16="http://schemas.microsoft.com/office/drawing/2014/main" id="{25D5DCE9-DF8E-0403-BC50-5F9E8634A1BA}"/>
              </a:ext>
            </a:extLst>
          </p:cNvPr>
          <p:cNvSpPr txBox="1">
            <a:spLocks/>
          </p:cNvSpPr>
          <p:nvPr/>
        </p:nvSpPr>
        <p:spPr>
          <a:xfrm>
            <a:off x="5649805" y="6460142"/>
            <a:ext cx="892391" cy="124951"/>
          </a:xfrm>
          <a:prstGeom prst="rect">
            <a:avLst/>
          </a:prstGeom>
        </p:spPr>
        <p:txBody>
          <a:bodyPr vert="horz" wrap="square" lIns="0" tIns="5760" rIns="0" bIns="0" rtlCol="0">
            <a:spAutoFit/>
          </a:bodyPr>
          <a:lstStyle/>
          <a:p>
            <a:pPr marL="6777" algn="ctr">
              <a:spcBef>
                <a:spcPts val="45"/>
              </a:spcBef>
            </a:pPr>
            <a:r>
              <a:rPr lang="en-US" sz="774" spc="8" dirty="0">
                <a:solidFill>
                  <a:srgbClr val="A78A4C"/>
                </a:solidFill>
                <a:latin typeface="HelveticaNeue-Light"/>
                <a:cs typeface="HelveticaNeue-Light"/>
              </a:rPr>
              <a:t>11 July</a:t>
            </a:r>
            <a:r>
              <a:rPr lang="en-US" sz="774" spc="-13" dirty="0">
                <a:solidFill>
                  <a:srgbClr val="A78A4C"/>
                </a:solidFill>
                <a:latin typeface="HelveticaNeue-Light"/>
                <a:cs typeface="HelveticaNeue-Light"/>
              </a:rPr>
              <a:t> </a:t>
            </a:r>
            <a:r>
              <a:rPr lang="en-US" sz="774" spc="8" dirty="0">
                <a:solidFill>
                  <a:srgbClr val="A78A4C"/>
                </a:solidFill>
                <a:latin typeface="HelveticaNeue-Light"/>
                <a:cs typeface="HelveticaNeue-Light"/>
              </a:rPr>
              <a:t>2025</a:t>
            </a:r>
            <a:endParaRPr lang="en-US" sz="774" dirty="0">
              <a:latin typeface="HelveticaNeue-Light"/>
              <a:cs typeface="HelveticaNeue-Light"/>
            </a:endParaRPr>
          </a:p>
        </p:txBody>
      </p:sp>
    </p:spTree>
    <p:extLst>
      <p:ext uri="{BB962C8B-B14F-4D97-AF65-F5344CB8AC3E}">
        <p14:creationId xmlns:p14="http://schemas.microsoft.com/office/powerpoint/2010/main" val="390908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5">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5">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A31CC-9493-0C02-51CA-09BE1598D545}"/>
            </a:ext>
          </a:extLst>
        </p:cNvPr>
        <p:cNvGrpSpPr/>
        <p:nvPr/>
      </p:nvGrpSpPr>
      <p:grpSpPr>
        <a:xfrm>
          <a:off x="0" y="0"/>
          <a:ext cx="0" cy="0"/>
          <a:chOff x="0" y="0"/>
          <a:chExt cx="0" cy="0"/>
        </a:xfrm>
      </p:grpSpPr>
      <p:grpSp>
        <p:nvGrpSpPr>
          <p:cNvPr id="3" name="object 3">
            <a:extLst>
              <a:ext uri="{FF2B5EF4-FFF2-40B4-BE49-F238E27FC236}">
                <a16:creationId xmlns:a16="http://schemas.microsoft.com/office/drawing/2014/main" id="{58268FF6-C8B4-AF45-3428-83FD244AD15E}"/>
              </a:ext>
            </a:extLst>
          </p:cNvPr>
          <p:cNvGrpSpPr/>
          <p:nvPr/>
        </p:nvGrpSpPr>
        <p:grpSpPr>
          <a:xfrm>
            <a:off x="9199589" y="5616681"/>
            <a:ext cx="2268832" cy="1247248"/>
            <a:chOff x="15868405" y="10526075"/>
            <a:chExt cx="4251960" cy="2337435"/>
          </a:xfrm>
        </p:grpSpPr>
        <p:sp>
          <p:nvSpPr>
            <p:cNvPr id="4" name="object 4">
              <a:extLst>
                <a:ext uri="{FF2B5EF4-FFF2-40B4-BE49-F238E27FC236}">
                  <a16:creationId xmlns:a16="http://schemas.microsoft.com/office/drawing/2014/main" id="{CBC63262-899A-141A-231C-11DB5281FE32}"/>
                </a:ext>
              </a:extLst>
            </p:cNvPr>
            <p:cNvSpPr/>
            <p:nvPr/>
          </p:nvSpPr>
          <p:spPr>
            <a:xfrm>
              <a:off x="17231200" y="11172070"/>
              <a:ext cx="587375" cy="579755"/>
            </a:xfrm>
            <a:custGeom>
              <a:avLst/>
              <a:gdLst/>
              <a:ahLst/>
              <a:cxnLst/>
              <a:rect l="l" t="t" r="r" b="b"/>
              <a:pathLst>
                <a:path w="587375" h="579754">
                  <a:moveTo>
                    <a:pt x="587259" y="0"/>
                  </a:moveTo>
                  <a:lnTo>
                    <a:pt x="513460" y="0"/>
                  </a:lnTo>
                  <a:lnTo>
                    <a:pt x="513460" y="285687"/>
                  </a:lnTo>
                  <a:lnTo>
                    <a:pt x="507898" y="334898"/>
                  </a:lnTo>
                  <a:lnTo>
                    <a:pt x="492045" y="380220"/>
                  </a:lnTo>
                  <a:lnTo>
                    <a:pt x="467148" y="420422"/>
                  </a:lnTo>
                  <a:lnTo>
                    <a:pt x="434457" y="454279"/>
                  </a:lnTo>
                  <a:lnTo>
                    <a:pt x="434457" y="0"/>
                  </a:lnTo>
                  <a:lnTo>
                    <a:pt x="358407" y="0"/>
                  </a:lnTo>
                  <a:lnTo>
                    <a:pt x="358407" y="495754"/>
                  </a:lnTo>
                  <a:lnTo>
                    <a:pt x="342810" y="499947"/>
                  </a:lnTo>
                  <a:lnTo>
                    <a:pt x="326785" y="503005"/>
                  </a:lnTo>
                  <a:lnTo>
                    <a:pt x="310376" y="504877"/>
                  </a:lnTo>
                  <a:lnTo>
                    <a:pt x="293624" y="505513"/>
                  </a:lnTo>
                  <a:lnTo>
                    <a:pt x="249374" y="501039"/>
                  </a:lnTo>
                  <a:lnTo>
                    <a:pt x="208134" y="488212"/>
                  </a:lnTo>
                  <a:lnTo>
                    <a:pt x="170795" y="467921"/>
                  </a:lnTo>
                  <a:lnTo>
                    <a:pt x="138248" y="441058"/>
                  </a:lnTo>
                  <a:lnTo>
                    <a:pt x="111383" y="408513"/>
                  </a:lnTo>
                  <a:lnTo>
                    <a:pt x="91090" y="371175"/>
                  </a:lnTo>
                  <a:lnTo>
                    <a:pt x="78262" y="329937"/>
                  </a:lnTo>
                  <a:lnTo>
                    <a:pt x="73788" y="285687"/>
                  </a:lnTo>
                  <a:lnTo>
                    <a:pt x="73788" y="272431"/>
                  </a:lnTo>
                  <a:lnTo>
                    <a:pt x="0" y="272431"/>
                  </a:lnTo>
                  <a:lnTo>
                    <a:pt x="0" y="285687"/>
                  </a:lnTo>
                  <a:lnTo>
                    <a:pt x="3850" y="333251"/>
                  </a:lnTo>
                  <a:lnTo>
                    <a:pt x="14995" y="378394"/>
                  </a:lnTo>
                  <a:lnTo>
                    <a:pt x="32825" y="420508"/>
                  </a:lnTo>
                  <a:lnTo>
                    <a:pt x="56731" y="458984"/>
                  </a:lnTo>
                  <a:lnTo>
                    <a:pt x="86103" y="493212"/>
                  </a:lnTo>
                  <a:lnTo>
                    <a:pt x="120332" y="522583"/>
                  </a:lnTo>
                  <a:lnTo>
                    <a:pt x="158808" y="546488"/>
                  </a:lnTo>
                  <a:lnTo>
                    <a:pt x="200921" y="564317"/>
                  </a:lnTo>
                  <a:lnTo>
                    <a:pt x="246063" y="575462"/>
                  </a:lnTo>
                  <a:lnTo>
                    <a:pt x="293624" y="579312"/>
                  </a:lnTo>
                  <a:lnTo>
                    <a:pt x="341190" y="575462"/>
                  </a:lnTo>
                  <a:lnTo>
                    <a:pt x="386336" y="564317"/>
                  </a:lnTo>
                  <a:lnTo>
                    <a:pt x="428452" y="546488"/>
                  </a:lnTo>
                  <a:lnTo>
                    <a:pt x="466929" y="522583"/>
                  </a:lnTo>
                  <a:lnTo>
                    <a:pt x="501158" y="493212"/>
                  </a:lnTo>
                  <a:lnTo>
                    <a:pt x="530530" y="458984"/>
                  </a:lnTo>
                  <a:lnTo>
                    <a:pt x="554435" y="420508"/>
                  </a:lnTo>
                  <a:lnTo>
                    <a:pt x="572265" y="378394"/>
                  </a:lnTo>
                  <a:lnTo>
                    <a:pt x="583409" y="333251"/>
                  </a:lnTo>
                  <a:lnTo>
                    <a:pt x="587259" y="285687"/>
                  </a:lnTo>
                  <a:lnTo>
                    <a:pt x="587259" y="0"/>
                  </a:lnTo>
                  <a:close/>
                </a:path>
              </a:pathLst>
            </a:custGeom>
            <a:solidFill>
              <a:srgbClr val="A78A4C"/>
            </a:solidFill>
          </p:spPr>
          <p:txBody>
            <a:bodyPr wrap="square" lIns="0" tIns="0" rIns="0" bIns="0" rtlCol="0"/>
            <a:lstStyle/>
            <a:p>
              <a:endParaRPr lang="en-US" sz="960" dirty="0"/>
            </a:p>
          </p:txBody>
        </p:sp>
        <p:pic>
          <p:nvPicPr>
            <p:cNvPr id="5" name="object 5">
              <a:extLst>
                <a:ext uri="{FF2B5EF4-FFF2-40B4-BE49-F238E27FC236}">
                  <a16:creationId xmlns:a16="http://schemas.microsoft.com/office/drawing/2014/main" id="{919A5184-ED83-458B-EFC7-391E7C5008F2}"/>
                </a:ext>
              </a:extLst>
            </p:cNvPr>
            <p:cNvPicPr/>
            <p:nvPr/>
          </p:nvPicPr>
          <p:blipFill>
            <a:blip r:embed="rId3" cstate="print"/>
            <a:stretch>
              <a:fillRect/>
            </a:stretch>
          </p:blipFill>
          <p:spPr>
            <a:xfrm>
              <a:off x="18065730" y="11020372"/>
              <a:ext cx="91557" cy="243814"/>
            </a:xfrm>
            <a:prstGeom prst="rect">
              <a:avLst/>
            </a:prstGeom>
          </p:spPr>
        </p:pic>
        <p:pic>
          <p:nvPicPr>
            <p:cNvPr id="6" name="object 6">
              <a:extLst>
                <a:ext uri="{FF2B5EF4-FFF2-40B4-BE49-F238E27FC236}">
                  <a16:creationId xmlns:a16="http://schemas.microsoft.com/office/drawing/2014/main" id="{9DEB2573-E991-4BB7-F50E-43568C406A8E}"/>
                </a:ext>
              </a:extLst>
            </p:cNvPr>
            <p:cNvPicPr/>
            <p:nvPr/>
          </p:nvPicPr>
          <p:blipFill>
            <a:blip r:embed="rId4" cstate="print"/>
            <a:stretch>
              <a:fillRect/>
            </a:stretch>
          </p:blipFill>
          <p:spPr>
            <a:xfrm>
              <a:off x="18196175" y="11020373"/>
              <a:ext cx="157984" cy="188088"/>
            </a:xfrm>
            <a:prstGeom prst="rect">
              <a:avLst/>
            </a:prstGeom>
          </p:spPr>
        </p:pic>
        <p:pic>
          <p:nvPicPr>
            <p:cNvPr id="7" name="object 7">
              <a:extLst>
                <a:ext uri="{FF2B5EF4-FFF2-40B4-BE49-F238E27FC236}">
                  <a16:creationId xmlns:a16="http://schemas.microsoft.com/office/drawing/2014/main" id="{03D7A9BF-9CE6-4C6E-2AB2-7154539568CE}"/>
                </a:ext>
              </a:extLst>
            </p:cNvPr>
            <p:cNvPicPr/>
            <p:nvPr/>
          </p:nvPicPr>
          <p:blipFill>
            <a:blip r:embed="rId5" cstate="print"/>
            <a:stretch>
              <a:fillRect/>
            </a:stretch>
          </p:blipFill>
          <p:spPr>
            <a:xfrm>
              <a:off x="18384343" y="11017713"/>
              <a:ext cx="284270" cy="190748"/>
            </a:xfrm>
            <a:prstGeom prst="rect">
              <a:avLst/>
            </a:prstGeom>
          </p:spPr>
        </p:pic>
        <p:sp>
          <p:nvSpPr>
            <p:cNvPr id="8" name="object 8">
              <a:extLst>
                <a:ext uri="{FF2B5EF4-FFF2-40B4-BE49-F238E27FC236}">
                  <a16:creationId xmlns:a16="http://schemas.microsoft.com/office/drawing/2014/main" id="{717CFDB3-7189-A4FF-FB5D-C05CA4F8C948}"/>
                </a:ext>
              </a:extLst>
            </p:cNvPr>
            <p:cNvSpPr/>
            <p:nvPr/>
          </p:nvSpPr>
          <p:spPr>
            <a:xfrm>
              <a:off x="18695001" y="11020376"/>
              <a:ext cx="50165" cy="186055"/>
            </a:xfrm>
            <a:custGeom>
              <a:avLst/>
              <a:gdLst/>
              <a:ahLst/>
              <a:cxnLst/>
              <a:rect l="l" t="t" r="r" b="b"/>
              <a:pathLst>
                <a:path w="50165" h="186054">
                  <a:moveTo>
                    <a:pt x="50134" y="0"/>
                  </a:moveTo>
                  <a:lnTo>
                    <a:pt x="0" y="0"/>
                  </a:lnTo>
                  <a:lnTo>
                    <a:pt x="0" y="185554"/>
                  </a:lnTo>
                  <a:lnTo>
                    <a:pt x="50134" y="185554"/>
                  </a:lnTo>
                  <a:lnTo>
                    <a:pt x="50134" y="0"/>
                  </a:lnTo>
                  <a:close/>
                </a:path>
              </a:pathLst>
            </a:custGeom>
            <a:solidFill>
              <a:srgbClr val="7A7C81"/>
            </a:solidFill>
          </p:spPr>
          <p:txBody>
            <a:bodyPr wrap="square" lIns="0" tIns="0" rIns="0" bIns="0" rtlCol="0"/>
            <a:lstStyle/>
            <a:p>
              <a:endParaRPr lang="en-US" sz="960" dirty="0"/>
            </a:p>
          </p:txBody>
        </p:sp>
        <p:pic>
          <p:nvPicPr>
            <p:cNvPr id="9" name="object 9">
              <a:extLst>
                <a:ext uri="{FF2B5EF4-FFF2-40B4-BE49-F238E27FC236}">
                  <a16:creationId xmlns:a16="http://schemas.microsoft.com/office/drawing/2014/main" id="{3D3A3A43-9619-53A2-B663-BD0A162D3F08}"/>
                </a:ext>
              </a:extLst>
            </p:cNvPr>
            <p:cNvPicPr/>
            <p:nvPr/>
          </p:nvPicPr>
          <p:blipFill>
            <a:blip r:embed="rId6" cstate="print"/>
            <a:stretch>
              <a:fillRect/>
            </a:stretch>
          </p:blipFill>
          <p:spPr>
            <a:xfrm>
              <a:off x="18778226" y="11017713"/>
              <a:ext cx="146738" cy="190748"/>
            </a:xfrm>
            <a:prstGeom prst="rect">
              <a:avLst/>
            </a:prstGeom>
          </p:spPr>
        </p:pic>
        <p:sp>
          <p:nvSpPr>
            <p:cNvPr id="10" name="object 10">
              <a:extLst>
                <a:ext uri="{FF2B5EF4-FFF2-40B4-BE49-F238E27FC236}">
                  <a16:creationId xmlns:a16="http://schemas.microsoft.com/office/drawing/2014/main" id="{27D1D242-3881-6651-BB1F-0FA4F1488136}"/>
                </a:ext>
              </a:extLst>
            </p:cNvPr>
            <p:cNvSpPr/>
            <p:nvPr/>
          </p:nvSpPr>
          <p:spPr>
            <a:xfrm>
              <a:off x="18952884" y="11020512"/>
              <a:ext cx="109855" cy="185420"/>
            </a:xfrm>
            <a:custGeom>
              <a:avLst/>
              <a:gdLst/>
              <a:ahLst/>
              <a:cxnLst/>
              <a:rect l="l" t="t" r="r" b="b"/>
              <a:pathLst>
                <a:path w="109855" h="185420">
                  <a:moveTo>
                    <a:pt x="109601" y="0"/>
                  </a:moveTo>
                  <a:lnTo>
                    <a:pt x="0" y="0"/>
                  </a:lnTo>
                  <a:lnTo>
                    <a:pt x="0" y="40640"/>
                  </a:lnTo>
                  <a:lnTo>
                    <a:pt x="0" y="69850"/>
                  </a:lnTo>
                  <a:lnTo>
                    <a:pt x="0" y="109220"/>
                  </a:lnTo>
                  <a:lnTo>
                    <a:pt x="0" y="144780"/>
                  </a:lnTo>
                  <a:lnTo>
                    <a:pt x="0" y="185420"/>
                  </a:lnTo>
                  <a:lnTo>
                    <a:pt x="109601" y="185420"/>
                  </a:lnTo>
                  <a:lnTo>
                    <a:pt x="109601" y="144780"/>
                  </a:lnTo>
                  <a:lnTo>
                    <a:pt x="49885" y="144780"/>
                  </a:lnTo>
                  <a:lnTo>
                    <a:pt x="49885" y="109220"/>
                  </a:lnTo>
                  <a:lnTo>
                    <a:pt x="105181" y="109220"/>
                  </a:lnTo>
                  <a:lnTo>
                    <a:pt x="105181" y="69850"/>
                  </a:lnTo>
                  <a:lnTo>
                    <a:pt x="49885" y="69850"/>
                  </a:lnTo>
                  <a:lnTo>
                    <a:pt x="49885" y="40640"/>
                  </a:lnTo>
                  <a:lnTo>
                    <a:pt x="109601" y="40640"/>
                  </a:lnTo>
                  <a:lnTo>
                    <a:pt x="109601" y="0"/>
                  </a:lnTo>
                  <a:close/>
                </a:path>
              </a:pathLst>
            </a:custGeom>
            <a:solidFill>
              <a:srgbClr val="7A7C81"/>
            </a:solidFill>
          </p:spPr>
          <p:txBody>
            <a:bodyPr wrap="square" lIns="0" tIns="0" rIns="0" bIns="0" rtlCol="0"/>
            <a:lstStyle/>
            <a:p>
              <a:endParaRPr lang="en-US" sz="960" dirty="0"/>
            </a:p>
          </p:txBody>
        </p:sp>
        <p:pic>
          <p:nvPicPr>
            <p:cNvPr id="11" name="object 11">
              <a:extLst>
                <a:ext uri="{FF2B5EF4-FFF2-40B4-BE49-F238E27FC236}">
                  <a16:creationId xmlns:a16="http://schemas.microsoft.com/office/drawing/2014/main" id="{6784DC01-7300-B781-634E-B99916AB4247}"/>
                </a:ext>
              </a:extLst>
            </p:cNvPr>
            <p:cNvPicPr/>
            <p:nvPr/>
          </p:nvPicPr>
          <p:blipFill>
            <a:blip r:embed="rId7" cstate="print"/>
            <a:stretch>
              <a:fillRect/>
            </a:stretch>
          </p:blipFill>
          <p:spPr>
            <a:xfrm>
              <a:off x="18055058" y="11302723"/>
              <a:ext cx="235657" cy="180287"/>
            </a:xfrm>
            <a:prstGeom prst="rect">
              <a:avLst/>
            </a:prstGeom>
          </p:spPr>
        </p:pic>
        <p:sp>
          <p:nvSpPr>
            <p:cNvPr id="12" name="object 12">
              <a:extLst>
                <a:ext uri="{FF2B5EF4-FFF2-40B4-BE49-F238E27FC236}">
                  <a16:creationId xmlns:a16="http://schemas.microsoft.com/office/drawing/2014/main" id="{EECF44FF-3D07-8253-8AEC-99AAA70373DF}"/>
                </a:ext>
              </a:extLst>
            </p:cNvPr>
            <p:cNvSpPr/>
            <p:nvPr/>
          </p:nvSpPr>
          <p:spPr>
            <a:xfrm>
              <a:off x="18316233" y="11302681"/>
              <a:ext cx="362585" cy="180340"/>
            </a:xfrm>
            <a:custGeom>
              <a:avLst/>
              <a:gdLst/>
              <a:ahLst/>
              <a:cxnLst/>
              <a:rect l="l" t="t" r="r" b="b"/>
              <a:pathLst>
                <a:path w="362584" h="180340">
                  <a:moveTo>
                    <a:pt x="29476" y="50"/>
                  </a:moveTo>
                  <a:lnTo>
                    <a:pt x="0" y="50"/>
                  </a:lnTo>
                  <a:lnTo>
                    <a:pt x="0" y="180340"/>
                  </a:lnTo>
                  <a:lnTo>
                    <a:pt x="29476" y="180340"/>
                  </a:lnTo>
                  <a:lnTo>
                    <a:pt x="29476" y="50"/>
                  </a:lnTo>
                  <a:close/>
                </a:path>
                <a:path w="362584" h="180340">
                  <a:moveTo>
                    <a:pt x="192379" y="0"/>
                  </a:moveTo>
                  <a:lnTo>
                    <a:pt x="56845" y="0"/>
                  </a:lnTo>
                  <a:lnTo>
                    <a:pt x="56845" y="25400"/>
                  </a:lnTo>
                  <a:lnTo>
                    <a:pt x="109880" y="25400"/>
                  </a:lnTo>
                  <a:lnTo>
                    <a:pt x="109880" y="180340"/>
                  </a:lnTo>
                  <a:lnTo>
                    <a:pt x="139344" y="180340"/>
                  </a:lnTo>
                  <a:lnTo>
                    <a:pt x="139344" y="25400"/>
                  </a:lnTo>
                  <a:lnTo>
                    <a:pt x="192379" y="25400"/>
                  </a:lnTo>
                  <a:lnTo>
                    <a:pt x="192379" y="0"/>
                  </a:lnTo>
                  <a:close/>
                </a:path>
                <a:path w="362584" h="180340">
                  <a:moveTo>
                    <a:pt x="362191" y="0"/>
                  </a:moveTo>
                  <a:lnTo>
                    <a:pt x="332587" y="0"/>
                  </a:lnTo>
                  <a:lnTo>
                    <a:pt x="332587" y="73660"/>
                  </a:lnTo>
                  <a:lnTo>
                    <a:pt x="249478" y="73660"/>
                  </a:lnTo>
                  <a:lnTo>
                    <a:pt x="249478" y="0"/>
                  </a:lnTo>
                  <a:lnTo>
                    <a:pt x="220002" y="0"/>
                  </a:lnTo>
                  <a:lnTo>
                    <a:pt x="220002" y="73660"/>
                  </a:lnTo>
                  <a:lnTo>
                    <a:pt x="220002" y="99060"/>
                  </a:lnTo>
                  <a:lnTo>
                    <a:pt x="220002" y="180340"/>
                  </a:lnTo>
                  <a:lnTo>
                    <a:pt x="249478" y="180340"/>
                  </a:lnTo>
                  <a:lnTo>
                    <a:pt x="249478" y="99060"/>
                  </a:lnTo>
                  <a:lnTo>
                    <a:pt x="332587" y="99060"/>
                  </a:lnTo>
                  <a:lnTo>
                    <a:pt x="332587" y="180340"/>
                  </a:lnTo>
                  <a:lnTo>
                    <a:pt x="362191" y="180340"/>
                  </a:lnTo>
                  <a:lnTo>
                    <a:pt x="362191" y="99060"/>
                  </a:lnTo>
                  <a:lnTo>
                    <a:pt x="362191" y="73660"/>
                  </a:lnTo>
                  <a:lnTo>
                    <a:pt x="362191" y="0"/>
                  </a:lnTo>
                  <a:close/>
                </a:path>
              </a:pathLst>
            </a:custGeom>
            <a:solidFill>
              <a:srgbClr val="7A7C81"/>
            </a:solidFill>
          </p:spPr>
          <p:txBody>
            <a:bodyPr wrap="square" lIns="0" tIns="0" rIns="0" bIns="0" rtlCol="0"/>
            <a:lstStyle/>
            <a:p>
              <a:endParaRPr lang="en-US" sz="960" dirty="0"/>
            </a:p>
          </p:txBody>
        </p:sp>
        <p:pic>
          <p:nvPicPr>
            <p:cNvPr id="13" name="object 13">
              <a:extLst>
                <a:ext uri="{FF2B5EF4-FFF2-40B4-BE49-F238E27FC236}">
                  <a16:creationId xmlns:a16="http://schemas.microsoft.com/office/drawing/2014/main" id="{F2A71912-4866-DBAA-A2E8-660464EFDF5C}"/>
                </a:ext>
              </a:extLst>
            </p:cNvPr>
            <p:cNvPicPr/>
            <p:nvPr/>
          </p:nvPicPr>
          <p:blipFill>
            <a:blip r:embed="rId8" cstate="print"/>
            <a:stretch>
              <a:fillRect/>
            </a:stretch>
          </p:blipFill>
          <p:spPr>
            <a:xfrm>
              <a:off x="18717022" y="11299886"/>
              <a:ext cx="168947" cy="185596"/>
            </a:xfrm>
            <a:prstGeom prst="rect">
              <a:avLst/>
            </a:prstGeom>
          </p:spPr>
        </p:pic>
        <p:pic>
          <p:nvPicPr>
            <p:cNvPr id="14" name="object 14">
              <a:extLst>
                <a:ext uri="{FF2B5EF4-FFF2-40B4-BE49-F238E27FC236}">
                  <a16:creationId xmlns:a16="http://schemas.microsoft.com/office/drawing/2014/main" id="{52645FCB-5846-0F9A-C6FE-003765E4F6DA}"/>
                </a:ext>
              </a:extLst>
            </p:cNvPr>
            <p:cNvPicPr/>
            <p:nvPr/>
          </p:nvPicPr>
          <p:blipFill>
            <a:blip r:embed="rId9" cstate="print"/>
            <a:stretch>
              <a:fillRect/>
            </a:stretch>
          </p:blipFill>
          <p:spPr>
            <a:xfrm>
              <a:off x="18923084" y="11302724"/>
              <a:ext cx="142927" cy="182758"/>
            </a:xfrm>
            <a:prstGeom prst="rect">
              <a:avLst/>
            </a:prstGeom>
          </p:spPr>
        </p:pic>
        <p:sp>
          <p:nvSpPr>
            <p:cNvPr id="15" name="object 15">
              <a:extLst>
                <a:ext uri="{FF2B5EF4-FFF2-40B4-BE49-F238E27FC236}">
                  <a16:creationId xmlns:a16="http://schemas.microsoft.com/office/drawing/2014/main" id="{02492A05-38AE-96B5-4E17-81C03DD6B1B6}"/>
                </a:ext>
              </a:extLst>
            </p:cNvPr>
            <p:cNvSpPr/>
            <p:nvPr/>
          </p:nvSpPr>
          <p:spPr>
            <a:xfrm>
              <a:off x="18065725" y="11302681"/>
              <a:ext cx="1162050" cy="445134"/>
            </a:xfrm>
            <a:custGeom>
              <a:avLst/>
              <a:gdLst/>
              <a:ahLst/>
              <a:cxnLst/>
              <a:rect l="l" t="t" r="r" b="b"/>
              <a:pathLst>
                <a:path w="1162050" h="445134">
                  <a:moveTo>
                    <a:pt x="98767" y="433133"/>
                  </a:moveTo>
                  <a:lnTo>
                    <a:pt x="12598" y="433133"/>
                  </a:lnTo>
                  <a:lnTo>
                    <a:pt x="12598" y="264223"/>
                  </a:lnTo>
                  <a:lnTo>
                    <a:pt x="0" y="264223"/>
                  </a:lnTo>
                  <a:lnTo>
                    <a:pt x="0" y="433133"/>
                  </a:lnTo>
                  <a:lnTo>
                    <a:pt x="0" y="444563"/>
                  </a:lnTo>
                  <a:lnTo>
                    <a:pt x="98767" y="444563"/>
                  </a:lnTo>
                  <a:lnTo>
                    <a:pt x="98767" y="433133"/>
                  </a:lnTo>
                  <a:close/>
                </a:path>
                <a:path w="1162050" h="445134">
                  <a:moveTo>
                    <a:pt x="142532" y="263829"/>
                  </a:moveTo>
                  <a:lnTo>
                    <a:pt x="129921" y="263829"/>
                  </a:lnTo>
                  <a:lnTo>
                    <a:pt x="129921" y="444563"/>
                  </a:lnTo>
                  <a:lnTo>
                    <a:pt x="142532" y="444563"/>
                  </a:lnTo>
                  <a:lnTo>
                    <a:pt x="142532" y="263829"/>
                  </a:lnTo>
                  <a:close/>
                </a:path>
                <a:path w="1162050" h="445134">
                  <a:moveTo>
                    <a:pt x="299529" y="264223"/>
                  </a:moveTo>
                  <a:lnTo>
                    <a:pt x="169354" y="264223"/>
                  </a:lnTo>
                  <a:lnTo>
                    <a:pt x="169354" y="275653"/>
                  </a:lnTo>
                  <a:lnTo>
                    <a:pt x="228079" y="275653"/>
                  </a:lnTo>
                  <a:lnTo>
                    <a:pt x="228079" y="444563"/>
                  </a:lnTo>
                  <a:lnTo>
                    <a:pt x="240804" y="444563"/>
                  </a:lnTo>
                  <a:lnTo>
                    <a:pt x="240804" y="275653"/>
                  </a:lnTo>
                  <a:lnTo>
                    <a:pt x="299529" y="275653"/>
                  </a:lnTo>
                  <a:lnTo>
                    <a:pt x="299529" y="264223"/>
                  </a:lnTo>
                  <a:close/>
                </a:path>
                <a:path w="1162050" h="445134">
                  <a:moveTo>
                    <a:pt x="338963" y="263829"/>
                  </a:moveTo>
                  <a:lnTo>
                    <a:pt x="326351" y="263829"/>
                  </a:lnTo>
                  <a:lnTo>
                    <a:pt x="326351" y="444563"/>
                  </a:lnTo>
                  <a:lnTo>
                    <a:pt x="338963" y="444563"/>
                  </a:lnTo>
                  <a:lnTo>
                    <a:pt x="338963" y="263829"/>
                  </a:lnTo>
                  <a:close/>
                </a:path>
                <a:path w="1162050" h="445134">
                  <a:moveTo>
                    <a:pt x="1161707" y="0"/>
                  </a:moveTo>
                  <a:lnTo>
                    <a:pt x="1026172" y="0"/>
                  </a:lnTo>
                  <a:lnTo>
                    <a:pt x="1026172" y="25400"/>
                  </a:lnTo>
                  <a:lnTo>
                    <a:pt x="1079195" y="25400"/>
                  </a:lnTo>
                  <a:lnTo>
                    <a:pt x="1079195" y="180340"/>
                  </a:lnTo>
                  <a:lnTo>
                    <a:pt x="1108671" y="180340"/>
                  </a:lnTo>
                  <a:lnTo>
                    <a:pt x="1108671" y="25400"/>
                  </a:lnTo>
                  <a:lnTo>
                    <a:pt x="1161707" y="25400"/>
                  </a:lnTo>
                  <a:lnTo>
                    <a:pt x="1161707" y="0"/>
                  </a:lnTo>
                  <a:close/>
                </a:path>
              </a:pathLst>
            </a:custGeom>
            <a:solidFill>
              <a:srgbClr val="7A7C81"/>
            </a:solidFill>
          </p:spPr>
          <p:txBody>
            <a:bodyPr wrap="square" lIns="0" tIns="0" rIns="0" bIns="0" rtlCol="0"/>
            <a:lstStyle/>
            <a:p>
              <a:endParaRPr lang="en-US" sz="960" dirty="0"/>
            </a:p>
          </p:txBody>
        </p:sp>
        <p:pic>
          <p:nvPicPr>
            <p:cNvPr id="16" name="object 16">
              <a:extLst>
                <a:ext uri="{FF2B5EF4-FFF2-40B4-BE49-F238E27FC236}">
                  <a16:creationId xmlns:a16="http://schemas.microsoft.com/office/drawing/2014/main" id="{45B5EDCB-8DAE-FD46-0C3B-B9ED030C7C71}"/>
                </a:ext>
              </a:extLst>
            </p:cNvPr>
            <p:cNvPicPr/>
            <p:nvPr/>
          </p:nvPicPr>
          <p:blipFill>
            <a:blip r:embed="rId10" cstate="print"/>
            <a:stretch>
              <a:fillRect/>
            </a:stretch>
          </p:blipFill>
          <p:spPr>
            <a:xfrm>
              <a:off x="18446220" y="11563659"/>
              <a:ext cx="147367" cy="186046"/>
            </a:xfrm>
            <a:prstGeom prst="rect">
              <a:avLst/>
            </a:prstGeom>
          </p:spPr>
        </p:pic>
        <p:pic>
          <p:nvPicPr>
            <p:cNvPr id="17" name="object 17">
              <a:extLst>
                <a:ext uri="{FF2B5EF4-FFF2-40B4-BE49-F238E27FC236}">
                  <a16:creationId xmlns:a16="http://schemas.microsoft.com/office/drawing/2014/main" id="{FBE399F9-C0AF-8764-7D08-8092FD7F92CF}"/>
                </a:ext>
              </a:extLst>
            </p:cNvPr>
            <p:cNvPicPr/>
            <p:nvPr/>
          </p:nvPicPr>
          <p:blipFill>
            <a:blip r:embed="rId11" cstate="print"/>
            <a:stretch>
              <a:fillRect/>
            </a:stretch>
          </p:blipFill>
          <p:spPr>
            <a:xfrm>
              <a:off x="18613357" y="11565767"/>
              <a:ext cx="283342" cy="181470"/>
            </a:xfrm>
            <a:prstGeom prst="rect">
              <a:avLst/>
            </a:prstGeom>
          </p:spPr>
        </p:pic>
        <p:sp>
          <p:nvSpPr>
            <p:cNvPr id="18" name="object 18">
              <a:extLst>
                <a:ext uri="{FF2B5EF4-FFF2-40B4-BE49-F238E27FC236}">
                  <a16:creationId xmlns:a16="http://schemas.microsoft.com/office/drawing/2014/main" id="{130A2639-3E46-5005-46DE-4BE92EAF5D42}"/>
                </a:ext>
              </a:extLst>
            </p:cNvPr>
            <p:cNvSpPr/>
            <p:nvPr/>
          </p:nvSpPr>
          <p:spPr>
            <a:xfrm>
              <a:off x="18923528" y="11566506"/>
              <a:ext cx="12700" cy="180975"/>
            </a:xfrm>
            <a:custGeom>
              <a:avLst/>
              <a:gdLst/>
              <a:ahLst/>
              <a:cxnLst/>
              <a:rect l="l" t="t" r="r" b="b"/>
              <a:pathLst>
                <a:path w="12700" h="180975">
                  <a:moveTo>
                    <a:pt x="12606" y="0"/>
                  </a:moveTo>
                  <a:lnTo>
                    <a:pt x="0" y="0"/>
                  </a:lnTo>
                  <a:lnTo>
                    <a:pt x="0" y="180727"/>
                  </a:lnTo>
                  <a:lnTo>
                    <a:pt x="12606" y="180727"/>
                  </a:lnTo>
                  <a:lnTo>
                    <a:pt x="12606" y="0"/>
                  </a:lnTo>
                  <a:close/>
                </a:path>
              </a:pathLst>
            </a:custGeom>
            <a:solidFill>
              <a:srgbClr val="7A7C81"/>
            </a:solidFill>
          </p:spPr>
          <p:txBody>
            <a:bodyPr wrap="square" lIns="0" tIns="0" rIns="0" bIns="0" rtlCol="0"/>
            <a:lstStyle/>
            <a:p>
              <a:endParaRPr lang="en-US" sz="960" dirty="0"/>
            </a:p>
          </p:txBody>
        </p:sp>
        <p:pic>
          <p:nvPicPr>
            <p:cNvPr id="19" name="object 19">
              <a:extLst>
                <a:ext uri="{FF2B5EF4-FFF2-40B4-BE49-F238E27FC236}">
                  <a16:creationId xmlns:a16="http://schemas.microsoft.com/office/drawing/2014/main" id="{83ECB15C-8AA9-F537-F339-8A03B8F616C7}"/>
                </a:ext>
              </a:extLst>
            </p:cNvPr>
            <p:cNvPicPr/>
            <p:nvPr/>
          </p:nvPicPr>
          <p:blipFill>
            <a:blip r:embed="rId12" cstate="print"/>
            <a:stretch>
              <a:fillRect/>
            </a:stretch>
          </p:blipFill>
          <p:spPr>
            <a:xfrm>
              <a:off x="18977667" y="11563661"/>
              <a:ext cx="161576" cy="186046"/>
            </a:xfrm>
            <a:prstGeom prst="rect">
              <a:avLst/>
            </a:prstGeom>
          </p:spPr>
        </p:pic>
        <p:pic>
          <p:nvPicPr>
            <p:cNvPr id="20" name="object 20">
              <a:extLst>
                <a:ext uri="{FF2B5EF4-FFF2-40B4-BE49-F238E27FC236}">
                  <a16:creationId xmlns:a16="http://schemas.microsoft.com/office/drawing/2014/main" id="{020729E3-7DC2-1623-E63B-EAD583242548}"/>
                </a:ext>
              </a:extLst>
            </p:cNvPr>
            <p:cNvPicPr/>
            <p:nvPr/>
          </p:nvPicPr>
          <p:blipFill>
            <a:blip r:embed="rId13" cstate="print"/>
            <a:stretch>
              <a:fillRect/>
            </a:stretch>
          </p:blipFill>
          <p:spPr>
            <a:xfrm>
              <a:off x="19180778" y="11566509"/>
              <a:ext cx="131409" cy="180727"/>
            </a:xfrm>
            <a:prstGeom prst="rect">
              <a:avLst/>
            </a:prstGeom>
          </p:spPr>
        </p:pic>
        <p:sp>
          <p:nvSpPr>
            <p:cNvPr id="21" name="object 21">
              <a:extLst>
                <a:ext uri="{FF2B5EF4-FFF2-40B4-BE49-F238E27FC236}">
                  <a16:creationId xmlns:a16="http://schemas.microsoft.com/office/drawing/2014/main" id="{AB422669-B6EB-FD5B-5358-C9F6B4D0FF8D}"/>
                </a:ext>
              </a:extLst>
            </p:cNvPr>
            <p:cNvSpPr/>
            <p:nvPr/>
          </p:nvSpPr>
          <p:spPr>
            <a:xfrm>
              <a:off x="17305002" y="11018376"/>
              <a:ext cx="513715" cy="76200"/>
            </a:xfrm>
            <a:custGeom>
              <a:avLst/>
              <a:gdLst/>
              <a:ahLst/>
              <a:cxnLst/>
              <a:rect l="l" t="t" r="r" b="b"/>
              <a:pathLst>
                <a:path w="513715" h="76200">
                  <a:moveTo>
                    <a:pt x="513418" y="0"/>
                  </a:moveTo>
                  <a:lnTo>
                    <a:pt x="0" y="0"/>
                  </a:lnTo>
                  <a:lnTo>
                    <a:pt x="0" y="76050"/>
                  </a:lnTo>
                  <a:lnTo>
                    <a:pt x="513418" y="76050"/>
                  </a:lnTo>
                  <a:lnTo>
                    <a:pt x="513418" y="0"/>
                  </a:lnTo>
                  <a:close/>
                </a:path>
              </a:pathLst>
            </a:custGeom>
            <a:solidFill>
              <a:srgbClr val="A78A4C"/>
            </a:solidFill>
          </p:spPr>
          <p:txBody>
            <a:bodyPr wrap="square" lIns="0" tIns="0" rIns="0" bIns="0" rtlCol="0"/>
            <a:lstStyle/>
            <a:p>
              <a:endParaRPr lang="en-US" sz="960" dirty="0"/>
            </a:p>
          </p:txBody>
        </p:sp>
        <p:sp>
          <p:nvSpPr>
            <p:cNvPr id="22" name="object 22">
              <a:extLst>
                <a:ext uri="{FF2B5EF4-FFF2-40B4-BE49-F238E27FC236}">
                  <a16:creationId xmlns:a16="http://schemas.microsoft.com/office/drawing/2014/main" id="{AB591573-0BB5-1AAF-5DB0-DDE13D1B78EF}"/>
                </a:ext>
              </a:extLst>
            </p:cNvPr>
            <p:cNvSpPr/>
            <p:nvPr/>
          </p:nvSpPr>
          <p:spPr>
            <a:xfrm>
              <a:off x="15884111" y="10541781"/>
              <a:ext cx="4220210" cy="2306320"/>
            </a:xfrm>
            <a:custGeom>
              <a:avLst/>
              <a:gdLst/>
              <a:ahLst/>
              <a:cxnLst/>
              <a:rect l="l" t="t" r="r" b="b"/>
              <a:pathLst>
                <a:path w="4220209" h="2306320">
                  <a:moveTo>
                    <a:pt x="4219988" y="815958"/>
                  </a:moveTo>
                  <a:lnTo>
                    <a:pt x="4191904" y="882755"/>
                  </a:lnTo>
                  <a:lnTo>
                    <a:pt x="4172368" y="925143"/>
                  </a:lnTo>
                  <a:lnTo>
                    <a:pt x="4151819" y="966953"/>
                  </a:lnTo>
                  <a:lnTo>
                    <a:pt x="4130274" y="1008168"/>
                  </a:lnTo>
                  <a:lnTo>
                    <a:pt x="4107749" y="1048774"/>
                  </a:lnTo>
                  <a:lnTo>
                    <a:pt x="4084260" y="1088754"/>
                  </a:lnTo>
                  <a:lnTo>
                    <a:pt x="4059821" y="1128093"/>
                  </a:lnTo>
                  <a:lnTo>
                    <a:pt x="4034449" y="1166773"/>
                  </a:lnTo>
                  <a:lnTo>
                    <a:pt x="4008160" y="1204781"/>
                  </a:lnTo>
                  <a:lnTo>
                    <a:pt x="3980969" y="1242098"/>
                  </a:lnTo>
                  <a:lnTo>
                    <a:pt x="3952893" y="1278711"/>
                  </a:lnTo>
                  <a:lnTo>
                    <a:pt x="3923946" y="1314603"/>
                  </a:lnTo>
                  <a:lnTo>
                    <a:pt x="3894144" y="1349757"/>
                  </a:lnTo>
                  <a:lnTo>
                    <a:pt x="3863505" y="1384159"/>
                  </a:lnTo>
                  <a:lnTo>
                    <a:pt x="3832042" y="1417791"/>
                  </a:lnTo>
                  <a:lnTo>
                    <a:pt x="3799772" y="1450639"/>
                  </a:lnTo>
                  <a:lnTo>
                    <a:pt x="3766711" y="1482687"/>
                  </a:lnTo>
                  <a:lnTo>
                    <a:pt x="3732874" y="1513918"/>
                  </a:lnTo>
                  <a:lnTo>
                    <a:pt x="3698277" y="1544317"/>
                  </a:lnTo>
                  <a:lnTo>
                    <a:pt x="3662937" y="1573867"/>
                  </a:lnTo>
                  <a:lnTo>
                    <a:pt x="3626868" y="1602554"/>
                  </a:lnTo>
                  <a:lnTo>
                    <a:pt x="3590086" y="1630360"/>
                  </a:lnTo>
                  <a:lnTo>
                    <a:pt x="3552607" y="1657271"/>
                  </a:lnTo>
                  <a:lnTo>
                    <a:pt x="3514448" y="1683270"/>
                  </a:lnTo>
                  <a:lnTo>
                    <a:pt x="3475623" y="1708341"/>
                  </a:lnTo>
                  <a:lnTo>
                    <a:pt x="3436148" y="1732468"/>
                  </a:lnTo>
                  <a:lnTo>
                    <a:pt x="3396040" y="1755637"/>
                  </a:lnTo>
                  <a:lnTo>
                    <a:pt x="3355314" y="1777830"/>
                  </a:lnTo>
                  <a:lnTo>
                    <a:pt x="3313985" y="1799031"/>
                  </a:lnTo>
                  <a:lnTo>
                    <a:pt x="3272070" y="1819226"/>
                  </a:lnTo>
                  <a:lnTo>
                    <a:pt x="3229584" y="1838398"/>
                  </a:lnTo>
                  <a:lnTo>
                    <a:pt x="3186543" y="1856530"/>
                  </a:lnTo>
                  <a:lnTo>
                    <a:pt x="3142962" y="1873609"/>
                  </a:lnTo>
                  <a:lnTo>
                    <a:pt x="3098858" y="1889616"/>
                  </a:lnTo>
                  <a:lnTo>
                    <a:pt x="3054247" y="1904537"/>
                  </a:lnTo>
                  <a:lnTo>
                    <a:pt x="3009143" y="1918356"/>
                  </a:lnTo>
                  <a:lnTo>
                    <a:pt x="2963563" y="1931056"/>
                  </a:lnTo>
                  <a:lnTo>
                    <a:pt x="2917522" y="1942622"/>
                  </a:lnTo>
                  <a:lnTo>
                    <a:pt x="2871037" y="1953038"/>
                  </a:lnTo>
                  <a:lnTo>
                    <a:pt x="2824123" y="1962288"/>
                  </a:lnTo>
                  <a:lnTo>
                    <a:pt x="2776795" y="1970357"/>
                  </a:lnTo>
                  <a:lnTo>
                    <a:pt x="2729070" y="1977227"/>
                  </a:lnTo>
                  <a:lnTo>
                    <a:pt x="2680963" y="1982885"/>
                  </a:lnTo>
                  <a:lnTo>
                    <a:pt x="2632491" y="1987312"/>
                  </a:lnTo>
                  <a:lnTo>
                    <a:pt x="2583668" y="1990494"/>
                  </a:lnTo>
                  <a:lnTo>
                    <a:pt x="2534510" y="1992415"/>
                  </a:lnTo>
                  <a:lnTo>
                    <a:pt x="2485034" y="1993059"/>
                  </a:lnTo>
                  <a:lnTo>
                    <a:pt x="2436764" y="1992447"/>
                  </a:lnTo>
                  <a:lnTo>
                    <a:pt x="2388796" y="1990619"/>
                  </a:lnTo>
                  <a:lnTo>
                    <a:pt x="2341143" y="1987591"/>
                  </a:lnTo>
                  <a:lnTo>
                    <a:pt x="2293821" y="1983377"/>
                  </a:lnTo>
                  <a:lnTo>
                    <a:pt x="2246844" y="1977992"/>
                  </a:lnTo>
                  <a:lnTo>
                    <a:pt x="2200227" y="1971450"/>
                  </a:lnTo>
                  <a:lnTo>
                    <a:pt x="2153985" y="1963767"/>
                  </a:lnTo>
                  <a:lnTo>
                    <a:pt x="2108132" y="1954958"/>
                  </a:lnTo>
                  <a:lnTo>
                    <a:pt x="2062683" y="1945036"/>
                  </a:lnTo>
                  <a:lnTo>
                    <a:pt x="2017652" y="1934016"/>
                  </a:lnTo>
                  <a:lnTo>
                    <a:pt x="1973055" y="1921914"/>
                  </a:lnTo>
                  <a:lnTo>
                    <a:pt x="1928906" y="1908745"/>
                  </a:lnTo>
                  <a:lnTo>
                    <a:pt x="1885220" y="1894521"/>
                  </a:lnTo>
                  <a:lnTo>
                    <a:pt x="1842011" y="1879260"/>
                  </a:lnTo>
                  <a:lnTo>
                    <a:pt x="1799294" y="1862975"/>
                  </a:lnTo>
                  <a:lnTo>
                    <a:pt x="1757084" y="1845680"/>
                  </a:lnTo>
                  <a:lnTo>
                    <a:pt x="1715395" y="1827392"/>
                  </a:lnTo>
                  <a:lnTo>
                    <a:pt x="1674242" y="1808123"/>
                  </a:lnTo>
                  <a:lnTo>
                    <a:pt x="1633641" y="1787890"/>
                  </a:lnTo>
                  <a:lnTo>
                    <a:pt x="1593605" y="1766707"/>
                  </a:lnTo>
                  <a:lnTo>
                    <a:pt x="1554149" y="1744589"/>
                  </a:lnTo>
                  <a:lnTo>
                    <a:pt x="1515288" y="1721550"/>
                  </a:lnTo>
                  <a:lnTo>
                    <a:pt x="1477037" y="1697605"/>
                  </a:lnTo>
                  <a:lnTo>
                    <a:pt x="1439410" y="1672769"/>
                  </a:lnTo>
                  <a:lnTo>
                    <a:pt x="1402422" y="1647056"/>
                  </a:lnTo>
                  <a:lnTo>
                    <a:pt x="1366087" y="1620482"/>
                  </a:lnTo>
                  <a:lnTo>
                    <a:pt x="1330421" y="1593060"/>
                  </a:lnTo>
                  <a:lnTo>
                    <a:pt x="1295438" y="1564807"/>
                  </a:lnTo>
                  <a:lnTo>
                    <a:pt x="1261153" y="1535736"/>
                  </a:lnTo>
                  <a:lnTo>
                    <a:pt x="1227580" y="1505862"/>
                  </a:lnTo>
                  <a:lnTo>
                    <a:pt x="1194734" y="1475200"/>
                  </a:lnTo>
                  <a:lnTo>
                    <a:pt x="1162630" y="1443764"/>
                  </a:lnTo>
                  <a:lnTo>
                    <a:pt x="1131283" y="1411570"/>
                  </a:lnTo>
                  <a:lnTo>
                    <a:pt x="1100707" y="1378633"/>
                  </a:lnTo>
                  <a:lnTo>
                    <a:pt x="1070916" y="1344966"/>
                  </a:lnTo>
                  <a:lnTo>
                    <a:pt x="1041926" y="1310584"/>
                  </a:lnTo>
                  <a:lnTo>
                    <a:pt x="1013752" y="1275503"/>
                  </a:lnTo>
                  <a:lnTo>
                    <a:pt x="986407" y="1239737"/>
                  </a:lnTo>
                  <a:lnTo>
                    <a:pt x="959907" y="1203301"/>
                  </a:lnTo>
                  <a:lnTo>
                    <a:pt x="934266" y="1166209"/>
                  </a:lnTo>
                  <a:lnTo>
                    <a:pt x="909500" y="1128476"/>
                  </a:lnTo>
                  <a:lnTo>
                    <a:pt x="885621" y="1090118"/>
                  </a:lnTo>
                  <a:lnTo>
                    <a:pt x="862647" y="1051148"/>
                  </a:lnTo>
                  <a:lnTo>
                    <a:pt x="840590" y="1011581"/>
                  </a:lnTo>
                  <a:lnTo>
                    <a:pt x="819466" y="971433"/>
                  </a:lnTo>
                  <a:lnTo>
                    <a:pt x="799290" y="930717"/>
                  </a:lnTo>
                  <a:lnTo>
                    <a:pt x="780076" y="889449"/>
                  </a:lnTo>
                  <a:lnTo>
                    <a:pt x="761838" y="847644"/>
                  </a:lnTo>
                  <a:lnTo>
                    <a:pt x="744592" y="805315"/>
                  </a:lnTo>
                  <a:lnTo>
                    <a:pt x="728352" y="762479"/>
                  </a:lnTo>
                  <a:lnTo>
                    <a:pt x="713133" y="719148"/>
                  </a:lnTo>
                  <a:lnTo>
                    <a:pt x="698950" y="675339"/>
                  </a:lnTo>
                  <a:lnTo>
                    <a:pt x="685817" y="631066"/>
                  </a:lnTo>
                  <a:lnTo>
                    <a:pt x="673749" y="586344"/>
                  </a:lnTo>
                  <a:lnTo>
                    <a:pt x="662760" y="541187"/>
                  </a:lnTo>
                  <a:lnTo>
                    <a:pt x="652866" y="495610"/>
                  </a:lnTo>
                  <a:lnTo>
                    <a:pt x="644081" y="449629"/>
                  </a:lnTo>
                  <a:lnTo>
                    <a:pt x="636419" y="403256"/>
                  </a:lnTo>
                  <a:lnTo>
                    <a:pt x="629896" y="356509"/>
                  </a:lnTo>
                  <a:lnTo>
                    <a:pt x="624526" y="309400"/>
                  </a:lnTo>
                  <a:lnTo>
                    <a:pt x="620324" y="261945"/>
                  </a:lnTo>
                  <a:lnTo>
                    <a:pt x="617304" y="214159"/>
                  </a:lnTo>
                  <a:lnTo>
                    <a:pt x="615482" y="166055"/>
                  </a:lnTo>
                  <a:lnTo>
                    <a:pt x="614871" y="117650"/>
                  </a:lnTo>
                  <a:lnTo>
                    <a:pt x="615459" y="88007"/>
                  </a:lnTo>
                  <a:lnTo>
                    <a:pt x="616934" y="58593"/>
                  </a:lnTo>
                  <a:lnTo>
                    <a:pt x="618864" y="29295"/>
                  </a:lnTo>
                  <a:lnTo>
                    <a:pt x="620818" y="0"/>
                  </a:lnTo>
                  <a:lnTo>
                    <a:pt x="0" y="0"/>
                  </a:lnTo>
                  <a:lnTo>
                    <a:pt x="0" y="112425"/>
                  </a:lnTo>
                  <a:lnTo>
                    <a:pt x="462" y="160786"/>
                  </a:lnTo>
                  <a:lnTo>
                    <a:pt x="1844" y="208927"/>
                  </a:lnTo>
                  <a:lnTo>
                    <a:pt x="4137" y="256837"/>
                  </a:lnTo>
                  <a:lnTo>
                    <a:pt x="7333" y="304511"/>
                  </a:lnTo>
                  <a:lnTo>
                    <a:pt x="11422" y="351938"/>
                  </a:lnTo>
                  <a:lnTo>
                    <a:pt x="16398" y="399110"/>
                  </a:lnTo>
                  <a:lnTo>
                    <a:pt x="22251" y="446020"/>
                  </a:lnTo>
                  <a:lnTo>
                    <a:pt x="28973" y="492658"/>
                  </a:lnTo>
                  <a:lnTo>
                    <a:pt x="36555" y="539017"/>
                  </a:lnTo>
                  <a:lnTo>
                    <a:pt x="44990" y="585087"/>
                  </a:lnTo>
                  <a:lnTo>
                    <a:pt x="54268" y="630861"/>
                  </a:lnTo>
                  <a:lnTo>
                    <a:pt x="64382" y="676330"/>
                  </a:lnTo>
                  <a:lnTo>
                    <a:pt x="75322" y="721485"/>
                  </a:lnTo>
                  <a:lnTo>
                    <a:pt x="87081" y="766318"/>
                  </a:lnTo>
                  <a:lnTo>
                    <a:pt x="99650" y="810822"/>
                  </a:lnTo>
                  <a:lnTo>
                    <a:pt x="113021" y="854986"/>
                  </a:lnTo>
                  <a:lnTo>
                    <a:pt x="127185" y="898803"/>
                  </a:lnTo>
                  <a:lnTo>
                    <a:pt x="142133" y="942265"/>
                  </a:lnTo>
                  <a:lnTo>
                    <a:pt x="157858" y="985363"/>
                  </a:lnTo>
                  <a:lnTo>
                    <a:pt x="174351" y="1028088"/>
                  </a:lnTo>
                  <a:lnTo>
                    <a:pt x="191604" y="1070433"/>
                  </a:lnTo>
                  <a:lnTo>
                    <a:pt x="209607" y="1112388"/>
                  </a:lnTo>
                  <a:lnTo>
                    <a:pt x="228354" y="1153946"/>
                  </a:lnTo>
                  <a:lnTo>
                    <a:pt x="247835" y="1195098"/>
                  </a:lnTo>
                  <a:lnTo>
                    <a:pt x="268041" y="1235835"/>
                  </a:lnTo>
                  <a:lnTo>
                    <a:pt x="288965" y="1276149"/>
                  </a:lnTo>
                  <a:lnTo>
                    <a:pt x="310599" y="1316032"/>
                  </a:lnTo>
                  <a:lnTo>
                    <a:pt x="332932" y="1355475"/>
                  </a:lnTo>
                  <a:lnTo>
                    <a:pt x="355959" y="1394471"/>
                  </a:lnTo>
                  <a:lnTo>
                    <a:pt x="379668" y="1433009"/>
                  </a:lnTo>
                  <a:lnTo>
                    <a:pt x="404054" y="1471083"/>
                  </a:lnTo>
                  <a:lnTo>
                    <a:pt x="429106" y="1508683"/>
                  </a:lnTo>
                  <a:lnTo>
                    <a:pt x="454817" y="1545801"/>
                  </a:lnTo>
                  <a:lnTo>
                    <a:pt x="481178" y="1582429"/>
                  </a:lnTo>
                  <a:lnTo>
                    <a:pt x="508181" y="1618559"/>
                  </a:lnTo>
                  <a:lnTo>
                    <a:pt x="535817" y="1654181"/>
                  </a:lnTo>
                  <a:lnTo>
                    <a:pt x="564078" y="1689288"/>
                  </a:lnTo>
                  <a:lnTo>
                    <a:pt x="592956" y="1723871"/>
                  </a:lnTo>
                  <a:lnTo>
                    <a:pt x="622441" y="1757922"/>
                  </a:lnTo>
                  <a:lnTo>
                    <a:pt x="652527" y="1791432"/>
                  </a:lnTo>
                  <a:lnTo>
                    <a:pt x="683203" y="1824392"/>
                  </a:lnTo>
                  <a:lnTo>
                    <a:pt x="714463" y="1856796"/>
                  </a:lnTo>
                  <a:lnTo>
                    <a:pt x="746297" y="1888633"/>
                  </a:lnTo>
                  <a:lnTo>
                    <a:pt x="778697" y="1919895"/>
                  </a:lnTo>
                  <a:lnTo>
                    <a:pt x="811654" y="1950575"/>
                  </a:lnTo>
                  <a:lnTo>
                    <a:pt x="845161" y="1980664"/>
                  </a:lnTo>
                  <a:lnTo>
                    <a:pt x="879208" y="2010153"/>
                  </a:lnTo>
                  <a:lnTo>
                    <a:pt x="913788" y="2039033"/>
                  </a:lnTo>
                  <a:lnTo>
                    <a:pt x="948892" y="2067298"/>
                  </a:lnTo>
                  <a:lnTo>
                    <a:pt x="984511" y="2094937"/>
                  </a:lnTo>
                  <a:lnTo>
                    <a:pt x="1020637" y="2121943"/>
                  </a:lnTo>
                  <a:lnTo>
                    <a:pt x="1057262" y="2148307"/>
                  </a:lnTo>
                  <a:lnTo>
                    <a:pt x="1094378" y="2174021"/>
                  </a:lnTo>
                  <a:lnTo>
                    <a:pt x="1131975" y="2199077"/>
                  </a:lnTo>
                  <a:lnTo>
                    <a:pt x="1170046" y="2223465"/>
                  </a:lnTo>
                  <a:lnTo>
                    <a:pt x="1208582" y="2247178"/>
                  </a:lnTo>
                  <a:lnTo>
                    <a:pt x="1247574" y="2270207"/>
                  </a:lnTo>
                  <a:lnTo>
                    <a:pt x="1287014" y="2292544"/>
                  </a:lnTo>
                  <a:lnTo>
                    <a:pt x="1311807" y="2305994"/>
                  </a:lnTo>
                </a:path>
                <a:path w="4220209" h="2306320">
                  <a:moveTo>
                    <a:pt x="3669507" y="2305994"/>
                  </a:moveTo>
                  <a:lnTo>
                    <a:pt x="3733746" y="2270207"/>
                  </a:lnTo>
                  <a:lnTo>
                    <a:pt x="3772742" y="2247178"/>
                  </a:lnTo>
                  <a:lnTo>
                    <a:pt x="3811281" y="2223465"/>
                  </a:lnTo>
                  <a:lnTo>
                    <a:pt x="3849355" y="2199077"/>
                  </a:lnTo>
                  <a:lnTo>
                    <a:pt x="3886955" y="2174021"/>
                  </a:lnTo>
                  <a:lnTo>
                    <a:pt x="3924074" y="2148307"/>
                  </a:lnTo>
                  <a:lnTo>
                    <a:pt x="3960702" y="2121943"/>
                  </a:lnTo>
                  <a:lnTo>
                    <a:pt x="3996831" y="2094937"/>
                  </a:lnTo>
                  <a:lnTo>
                    <a:pt x="4032453" y="2067298"/>
                  </a:lnTo>
                  <a:lnTo>
                    <a:pt x="4067559" y="2039033"/>
                  </a:lnTo>
                  <a:lnTo>
                    <a:pt x="4102141" y="2010153"/>
                  </a:lnTo>
                  <a:lnTo>
                    <a:pt x="4136191" y="1980664"/>
                  </a:lnTo>
                  <a:lnTo>
                    <a:pt x="4169700" y="1950575"/>
                  </a:lnTo>
                  <a:lnTo>
                    <a:pt x="4202660" y="1919895"/>
                  </a:lnTo>
                  <a:lnTo>
                    <a:pt x="4219988" y="1903176"/>
                  </a:lnTo>
                </a:path>
              </a:pathLst>
            </a:custGeom>
            <a:ln w="31412">
              <a:solidFill>
                <a:srgbClr val="A78A4C"/>
              </a:solidFill>
            </a:ln>
          </p:spPr>
          <p:txBody>
            <a:bodyPr wrap="square" lIns="0" tIns="0" rIns="0" bIns="0" rtlCol="0"/>
            <a:lstStyle/>
            <a:p>
              <a:endParaRPr lang="en-US" sz="960" dirty="0"/>
            </a:p>
          </p:txBody>
        </p:sp>
      </p:grpSp>
      <p:sp>
        <p:nvSpPr>
          <p:cNvPr id="23" name="object 23">
            <a:extLst>
              <a:ext uri="{FF2B5EF4-FFF2-40B4-BE49-F238E27FC236}">
                <a16:creationId xmlns:a16="http://schemas.microsoft.com/office/drawing/2014/main" id="{8F7F3748-F007-473D-3C6D-717EF2D368E0}"/>
              </a:ext>
            </a:extLst>
          </p:cNvPr>
          <p:cNvSpPr/>
          <p:nvPr/>
        </p:nvSpPr>
        <p:spPr>
          <a:xfrm>
            <a:off x="997639" y="0"/>
            <a:ext cx="336462" cy="2357268"/>
          </a:xfrm>
          <a:custGeom>
            <a:avLst/>
            <a:gdLst/>
            <a:ahLst/>
            <a:cxnLst/>
            <a:rect l="l" t="t" r="r" b="b"/>
            <a:pathLst>
              <a:path w="630555" h="4417695">
                <a:moveTo>
                  <a:pt x="630242" y="4083639"/>
                </a:moveTo>
                <a:lnTo>
                  <a:pt x="630242" y="4073744"/>
                </a:lnTo>
                <a:lnTo>
                  <a:pt x="630106" y="4073859"/>
                </a:lnTo>
                <a:lnTo>
                  <a:pt x="629855" y="4074090"/>
                </a:lnTo>
                <a:lnTo>
                  <a:pt x="629855" y="0"/>
                </a:lnTo>
              </a:path>
              <a:path w="630555" h="4417695">
                <a:moveTo>
                  <a:pt x="2434" y="0"/>
                </a:moveTo>
                <a:lnTo>
                  <a:pt x="0" y="2699357"/>
                </a:lnTo>
                <a:lnTo>
                  <a:pt x="0" y="4417388"/>
                </a:lnTo>
                <a:lnTo>
                  <a:pt x="49735" y="4401593"/>
                </a:lnTo>
                <a:lnTo>
                  <a:pt x="98845" y="4384492"/>
                </a:lnTo>
                <a:lnTo>
                  <a:pt x="147304" y="4366102"/>
                </a:lnTo>
                <a:lnTo>
                  <a:pt x="195086" y="4346440"/>
                </a:lnTo>
                <a:lnTo>
                  <a:pt x="242168" y="4325523"/>
                </a:lnTo>
                <a:lnTo>
                  <a:pt x="288524" y="4303369"/>
                </a:lnTo>
                <a:lnTo>
                  <a:pt x="334129" y="4279994"/>
                </a:lnTo>
                <a:lnTo>
                  <a:pt x="378959" y="4255416"/>
                </a:lnTo>
                <a:lnTo>
                  <a:pt x="422987" y="4229652"/>
                </a:lnTo>
                <a:lnTo>
                  <a:pt x="466190" y="4202719"/>
                </a:lnTo>
                <a:lnTo>
                  <a:pt x="508541" y="4174634"/>
                </a:lnTo>
                <a:lnTo>
                  <a:pt x="550017" y="4145414"/>
                </a:lnTo>
                <a:lnTo>
                  <a:pt x="590593" y="4115077"/>
                </a:lnTo>
                <a:lnTo>
                  <a:pt x="630242" y="4083639"/>
                </a:lnTo>
              </a:path>
            </a:pathLst>
          </a:custGeom>
          <a:ln w="31412">
            <a:solidFill>
              <a:srgbClr val="A78A4C"/>
            </a:solidFill>
          </a:ln>
        </p:spPr>
        <p:txBody>
          <a:bodyPr wrap="square" lIns="0" tIns="0" rIns="0" bIns="0" rtlCol="0"/>
          <a:lstStyle/>
          <a:p>
            <a:endParaRPr lang="en-US" sz="960" dirty="0"/>
          </a:p>
        </p:txBody>
      </p:sp>
      <p:sp>
        <p:nvSpPr>
          <p:cNvPr id="24" name="object 24">
            <a:extLst>
              <a:ext uri="{FF2B5EF4-FFF2-40B4-BE49-F238E27FC236}">
                <a16:creationId xmlns:a16="http://schemas.microsoft.com/office/drawing/2014/main" id="{CA156BDF-3628-E24C-2E95-1C60D0B52D3F}"/>
              </a:ext>
            </a:extLst>
          </p:cNvPr>
          <p:cNvSpPr/>
          <p:nvPr/>
        </p:nvSpPr>
        <p:spPr>
          <a:xfrm>
            <a:off x="9164251" y="239452"/>
            <a:ext cx="2295600" cy="361536"/>
          </a:xfrm>
          <a:custGeom>
            <a:avLst/>
            <a:gdLst/>
            <a:ahLst/>
            <a:cxnLst/>
            <a:rect l="l" t="t" r="r" b="b"/>
            <a:pathLst>
              <a:path w="4302125" h="677544">
                <a:moveTo>
                  <a:pt x="4301921" y="0"/>
                </a:moveTo>
                <a:lnTo>
                  <a:pt x="0" y="0"/>
                </a:lnTo>
                <a:lnTo>
                  <a:pt x="0" y="677036"/>
                </a:lnTo>
                <a:lnTo>
                  <a:pt x="4301921" y="677036"/>
                </a:lnTo>
              </a:path>
            </a:pathLst>
          </a:custGeom>
          <a:ln w="31412">
            <a:solidFill>
              <a:srgbClr val="A78A4C"/>
            </a:solidFill>
          </a:ln>
        </p:spPr>
        <p:txBody>
          <a:bodyPr wrap="square" lIns="0" tIns="0" rIns="0" bIns="0" rtlCol="0"/>
          <a:lstStyle/>
          <a:p>
            <a:endParaRPr lang="en-US" sz="960" dirty="0"/>
          </a:p>
        </p:txBody>
      </p:sp>
      <p:sp>
        <p:nvSpPr>
          <p:cNvPr id="26" name="object 26">
            <a:extLst>
              <a:ext uri="{FF2B5EF4-FFF2-40B4-BE49-F238E27FC236}">
                <a16:creationId xmlns:a16="http://schemas.microsoft.com/office/drawing/2014/main" id="{D3F34EC3-F478-B786-2F5F-9EE2FD1F5A1E}"/>
              </a:ext>
            </a:extLst>
          </p:cNvPr>
          <p:cNvSpPr txBox="1">
            <a:spLocks noGrp="1"/>
          </p:cNvSpPr>
          <p:nvPr>
            <p:ph type="sldNum" sz="quarter" idx="7"/>
          </p:nvPr>
        </p:nvSpPr>
        <p:spPr>
          <a:xfrm>
            <a:off x="1689596" y="12106784"/>
            <a:ext cx="299085" cy="248284"/>
          </a:xfrm>
          <a:prstGeom prst="rect">
            <a:avLst/>
          </a:prstGeom>
        </p:spPr>
        <p:txBody>
          <a:bodyPr vert="horz" wrap="square" lIns="0" tIns="0" rIns="0" bIns="0" rtlCol="0">
            <a:spAutoFit/>
          </a:bodyPr>
          <a:lstStyle>
            <a:defPPr>
              <a:defRPr lang="de-DE"/>
            </a:defPPr>
            <a:lvl1pPr marL="0" algn="l" defTabSz="914400" rtl="0" eaLnBrk="1" latinLnBrk="0" hangingPunct="1">
              <a:defRPr sz="1450" b="0" i="0" kern="1200">
                <a:solidFill>
                  <a:srgbClr val="A78A4C"/>
                </a:solidFill>
                <a:latin typeface="HelveticaNeue-Light"/>
                <a:ea typeface="+mn-ea"/>
                <a:cs typeface="HelveticaNeue-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85"/>
              </a:spcBef>
            </a:pPr>
            <a:fld id="{81D60167-4931-47E6-BA6A-407CBD079E47}" type="slidenum">
              <a:rPr lang="en-US" spc="15" smtClean="0"/>
              <a:pPr marL="38100">
                <a:spcBef>
                  <a:spcPts val="85"/>
                </a:spcBef>
              </a:pPr>
              <a:t>3</a:t>
            </a:fld>
            <a:endParaRPr lang="en-US" spc="8" dirty="0"/>
          </a:p>
        </p:txBody>
      </p:sp>
      <p:sp>
        <p:nvSpPr>
          <p:cNvPr id="27" name="object 27">
            <a:extLst>
              <a:ext uri="{FF2B5EF4-FFF2-40B4-BE49-F238E27FC236}">
                <a16:creationId xmlns:a16="http://schemas.microsoft.com/office/drawing/2014/main" id="{A2F43243-9BC1-7505-2973-B2E94159395B}"/>
              </a:ext>
            </a:extLst>
          </p:cNvPr>
          <p:cNvSpPr txBox="1"/>
          <p:nvPr/>
        </p:nvSpPr>
        <p:spPr>
          <a:xfrm>
            <a:off x="5595782" y="6467743"/>
            <a:ext cx="1000436" cy="124951"/>
          </a:xfrm>
          <a:prstGeom prst="rect">
            <a:avLst/>
          </a:prstGeom>
        </p:spPr>
        <p:txBody>
          <a:bodyPr vert="horz" wrap="square" lIns="0" tIns="5760" rIns="0" bIns="0" rtlCol="0">
            <a:spAutoFit/>
          </a:bodyPr>
          <a:lstStyle/>
          <a:p>
            <a:pPr marL="6777">
              <a:spcBef>
                <a:spcPts val="45"/>
              </a:spcBef>
            </a:pPr>
            <a:r>
              <a:rPr lang="en-US" sz="774" spc="8" dirty="0">
                <a:solidFill>
                  <a:srgbClr val="A78A4C"/>
                </a:solidFill>
                <a:latin typeface="HelveticaNeue-Light"/>
                <a:cs typeface="HelveticaNeue-Light"/>
              </a:rPr>
              <a:t>24.</a:t>
            </a:r>
            <a:r>
              <a:rPr lang="en-US" sz="774" spc="-16" dirty="0">
                <a:solidFill>
                  <a:srgbClr val="A78A4C"/>
                </a:solidFill>
                <a:latin typeface="HelveticaNeue-Light"/>
                <a:cs typeface="HelveticaNeue-Light"/>
              </a:rPr>
              <a:t> </a:t>
            </a:r>
            <a:r>
              <a:rPr lang="en-US" sz="774" spc="8" dirty="0">
                <a:solidFill>
                  <a:srgbClr val="A78A4C"/>
                </a:solidFill>
                <a:latin typeface="HelveticaNeue-Light"/>
                <a:cs typeface="HelveticaNeue-Light"/>
              </a:rPr>
              <a:t>January</a:t>
            </a:r>
            <a:r>
              <a:rPr lang="en-US" sz="774" spc="-13" dirty="0">
                <a:solidFill>
                  <a:srgbClr val="A78A4C"/>
                </a:solidFill>
                <a:latin typeface="HelveticaNeue-Light"/>
                <a:cs typeface="HelveticaNeue-Light"/>
              </a:rPr>
              <a:t> </a:t>
            </a:r>
            <a:r>
              <a:rPr lang="en-US" sz="774" spc="8" dirty="0">
                <a:solidFill>
                  <a:srgbClr val="A78A4C"/>
                </a:solidFill>
                <a:latin typeface="HelveticaNeue-Light"/>
                <a:cs typeface="HelveticaNeue-Light"/>
              </a:rPr>
              <a:t>2025</a:t>
            </a:r>
            <a:endParaRPr lang="en-US" sz="774" dirty="0">
              <a:latin typeface="HelveticaNeue-Light"/>
              <a:cs typeface="HelveticaNeue-Light"/>
            </a:endParaRPr>
          </a:p>
        </p:txBody>
      </p:sp>
      <p:sp>
        <p:nvSpPr>
          <p:cNvPr id="31" name="object 25">
            <a:extLst>
              <a:ext uri="{FF2B5EF4-FFF2-40B4-BE49-F238E27FC236}">
                <a16:creationId xmlns:a16="http://schemas.microsoft.com/office/drawing/2014/main" id="{6F31FC6C-7092-1781-40F6-7FB9E7F81FF9}"/>
              </a:ext>
            </a:extLst>
          </p:cNvPr>
          <p:cNvSpPr txBox="1">
            <a:spLocks/>
          </p:cNvSpPr>
          <p:nvPr/>
        </p:nvSpPr>
        <p:spPr>
          <a:xfrm>
            <a:off x="1591942" y="778840"/>
            <a:ext cx="7268943" cy="1058071"/>
          </a:xfrm>
          <a:prstGeom prst="rect">
            <a:avLst/>
          </a:prstGeom>
        </p:spPr>
        <p:txBody>
          <a:bodyPr vert="horz" wrap="square" lIns="0" tIns="6438" rIns="0" bIns="0" rtlCol="0">
            <a:spAutoFit/>
          </a:bodyPr>
          <a:lstStyle>
            <a:lvl1pPr>
              <a:defRPr sz="8250" b="0" i="0">
                <a:solidFill>
                  <a:srgbClr val="7A7C81"/>
                </a:solidFill>
                <a:latin typeface="Arial"/>
                <a:ea typeface="+mj-ea"/>
                <a:cs typeface="Arial"/>
              </a:defRPr>
            </a:lvl1pPr>
          </a:lstStyle>
          <a:p>
            <a:pPr marL="6777">
              <a:lnSpc>
                <a:spcPts val="4117"/>
              </a:lnSpc>
              <a:spcBef>
                <a:spcPts val="51"/>
              </a:spcBef>
            </a:pPr>
            <a:r>
              <a:rPr lang="en-US" sz="3522"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What is the aim of the Task Force Behavioral Economics?</a:t>
            </a:r>
            <a:endParaRPr lang="en-US" sz="3522"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34" name="object 25">
            <a:extLst>
              <a:ext uri="{FF2B5EF4-FFF2-40B4-BE49-F238E27FC236}">
                <a16:creationId xmlns:a16="http://schemas.microsoft.com/office/drawing/2014/main" id="{CB39D252-D7FF-04E7-263F-E40D3F43C22C}"/>
              </a:ext>
            </a:extLst>
          </p:cNvPr>
          <p:cNvSpPr txBox="1">
            <a:spLocks noGrp="1"/>
          </p:cNvSpPr>
          <p:nvPr>
            <p:ph type="body" idx="1"/>
          </p:nvPr>
        </p:nvSpPr>
        <p:spPr>
          <a:xfrm>
            <a:off x="1591943" y="3118152"/>
            <a:ext cx="3487556" cy="1388289"/>
          </a:xfrm>
          <a:prstGeom prst="rect">
            <a:avLst/>
          </a:prstGeom>
        </p:spPr>
        <p:txBody>
          <a:bodyPr vert="horz" wrap="square" lIns="0" tIns="6438" rIns="0" bIns="0" rtlCol="0">
            <a:spAutoFit/>
          </a:bodyPr>
          <a:lstStyle/>
          <a:p>
            <a:pPr marL="0" marR="17958" indent="0">
              <a:lnSpc>
                <a:spcPts val="1846"/>
              </a:lnSpc>
              <a:spcBef>
                <a:spcPts val="4343"/>
              </a:spcBef>
              <a:buNone/>
            </a:pPr>
            <a:r>
              <a:rPr lang="en-US" sz="1574" b="1"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Main aim</a:t>
            </a:r>
            <a:endParaRPr lang="en-US" sz="1574" b="1"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0" marR="22363" indent="0">
              <a:lnSpc>
                <a:spcPct val="108800"/>
              </a:lnSpc>
              <a:spcBef>
                <a:spcPts val="1209"/>
              </a:spcBef>
              <a:buNone/>
            </a:pPr>
            <a:r>
              <a:rPr lang="en-US" sz="1281" dirty="0">
                <a:solidFill>
                  <a:srgbClr val="000000"/>
                </a:solidFill>
                <a:latin typeface="Open Sans" panose="020B0606030504020204" pitchFamily="34" charset="0"/>
                <a:ea typeface="Open Sans" panose="020B0606030504020204" pitchFamily="34" charset="0"/>
                <a:cs typeface="Open Sans" panose="020B0606030504020204" pitchFamily="34" charset="0"/>
              </a:rPr>
              <a:t>Identify which behavioral factors increase the likelihood of choosing non-contentious proceedings?</a:t>
            </a:r>
          </a:p>
          <a:p>
            <a:pPr marL="0" marR="22363" indent="0">
              <a:lnSpc>
                <a:spcPct val="108800"/>
              </a:lnSpc>
              <a:spcBef>
                <a:spcPts val="1209"/>
              </a:spcBef>
              <a:buNone/>
            </a:pPr>
            <a:r>
              <a:rPr lang="en-US" sz="1281"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n-US" sz="1281" i="1"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crease attractiveness</a:t>
            </a:r>
            <a:endParaRPr lang="en-US" sz="1281" i="1"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25">
            <a:extLst>
              <a:ext uri="{FF2B5EF4-FFF2-40B4-BE49-F238E27FC236}">
                <a16:creationId xmlns:a16="http://schemas.microsoft.com/office/drawing/2014/main" id="{E2B851A1-EF9D-DB10-54B0-60C1310340DA}"/>
              </a:ext>
            </a:extLst>
          </p:cNvPr>
          <p:cNvSpPr txBox="1">
            <a:spLocks/>
          </p:cNvSpPr>
          <p:nvPr/>
        </p:nvSpPr>
        <p:spPr>
          <a:xfrm>
            <a:off x="5459373" y="3118152"/>
            <a:ext cx="3487556" cy="1388289"/>
          </a:xfrm>
          <a:prstGeom prst="rect">
            <a:avLst/>
          </a:prstGeom>
        </p:spPr>
        <p:txBody>
          <a:bodyPr vert="horz" wrap="square" lIns="0" tIns="6438" rIns="0" bIns="0" rtlCol="0">
            <a:sp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2007" marR="17958">
              <a:lnSpc>
                <a:spcPts val="1846"/>
              </a:lnSpc>
              <a:spcBef>
                <a:spcPts val="4343"/>
              </a:spcBef>
            </a:pPr>
            <a:r>
              <a:rPr lang="en-US" sz="1574"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Additional aim</a:t>
            </a:r>
            <a:endParaRPr lang="en-US" sz="1574"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62007" marR="22363">
              <a:lnSpc>
                <a:spcPct val="108800"/>
              </a:lnSpc>
              <a:spcBef>
                <a:spcPts val="1209"/>
              </a:spcBef>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Identify which behavioral factors increase the perceived service quality of (currently existing) non-contentious proceedings</a:t>
            </a:r>
          </a:p>
          <a:p>
            <a:pPr marL="62007" marR="22363">
              <a:lnSpc>
                <a:spcPct val="108800"/>
              </a:lnSpc>
              <a:spcBef>
                <a:spcPts val="1209"/>
              </a:spcBef>
            </a:pPr>
            <a:r>
              <a:rPr lang="en-US" sz="128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n-US" sz="1281" i="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mprove service quality</a:t>
            </a:r>
            <a:endParaRPr lang="en-US" sz="1281" i="1" kern="0" dirty="0">
              <a:latin typeface="Open Sans" panose="020B0606030504020204" pitchFamily="34" charset="0"/>
              <a:ea typeface="Open Sans" panose="020B0606030504020204" pitchFamily="34" charset="0"/>
              <a:cs typeface="Open Sans" panose="020B0606030504020204" pitchFamily="34" charset="0"/>
            </a:endParaRPr>
          </a:p>
        </p:txBody>
      </p:sp>
      <p:pic>
        <p:nvPicPr>
          <p:cNvPr id="30" name="Graphic 29" descr="Bullseye outline">
            <a:extLst>
              <a:ext uri="{FF2B5EF4-FFF2-40B4-BE49-F238E27FC236}">
                <a16:creationId xmlns:a16="http://schemas.microsoft.com/office/drawing/2014/main" id="{DBDCFE53-3029-4DDD-9BAF-5141AD640B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99763" y="2981739"/>
            <a:ext cx="487921" cy="487921"/>
          </a:xfrm>
          <a:prstGeom prst="rect">
            <a:avLst/>
          </a:prstGeom>
        </p:spPr>
      </p:pic>
      <p:pic>
        <p:nvPicPr>
          <p:cNvPr id="33" name="Graphic 32" descr="Bullseye with solid fill">
            <a:extLst>
              <a:ext uri="{FF2B5EF4-FFF2-40B4-BE49-F238E27FC236}">
                <a16:creationId xmlns:a16="http://schemas.microsoft.com/office/drawing/2014/main" id="{E3852891-8E8A-00FD-5924-19723BF954C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843194" y="2981739"/>
            <a:ext cx="487921" cy="487921"/>
          </a:xfrm>
          <a:prstGeom prst="rect">
            <a:avLst/>
          </a:prstGeom>
        </p:spPr>
      </p:pic>
    </p:spTree>
    <p:extLst>
      <p:ext uri="{BB962C8B-B14F-4D97-AF65-F5344CB8AC3E}">
        <p14:creationId xmlns:p14="http://schemas.microsoft.com/office/powerpoint/2010/main" val="37768588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596F9-AD4F-A3C2-7F4B-FFB8EFED519C}"/>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800E99-35C1-E84A-B66E-3E93553CEA97}"/>
              </a:ext>
            </a:extLst>
          </p:cNvPr>
          <p:cNvGraphicFramePr>
            <a:graphicFrameLocks noChangeAspect="1"/>
          </p:cNvGraphicFramePr>
          <p:nvPr>
            <p:custDataLst>
              <p:tags r:id="rId1"/>
            </p:custDataLst>
            <p:extLst>
              <p:ext uri="{D42A27DB-BD31-4B8C-83A1-F6EECF244321}">
                <p14:modId xmlns:p14="http://schemas.microsoft.com/office/powerpoint/2010/main" val="380667212"/>
              </p:ext>
            </p:extLst>
          </p:nvPr>
        </p:nvGraphicFramePr>
        <p:xfrm>
          <a:off x="733105" y="848"/>
          <a:ext cx="847" cy="847"/>
        </p:xfrm>
        <a:graphic>
          <a:graphicData uri="http://schemas.openxmlformats.org/presentationml/2006/ole">
            <mc:AlternateContent xmlns:mc="http://schemas.openxmlformats.org/markup-compatibility/2006">
              <mc:Choice xmlns:v="urn:schemas-microsoft-com:vml" Requires="v">
                <p:oleObj name="think-cell Slide" r:id="rId4" imgW="608" imgH="608" progId="TCLayout.ActiveDocument.1">
                  <p:embed/>
                </p:oleObj>
              </mc:Choice>
              <mc:Fallback>
                <p:oleObj name="think-cell Slide" r:id="rId4" imgW="608" imgH="608" progId="TCLayout.ActiveDocument.1">
                  <p:embed/>
                  <p:pic>
                    <p:nvPicPr>
                      <p:cNvPr id="2" name="think-cell data - do not delete" hidden="1">
                        <a:extLst>
                          <a:ext uri="{FF2B5EF4-FFF2-40B4-BE49-F238E27FC236}">
                            <a16:creationId xmlns:a16="http://schemas.microsoft.com/office/drawing/2014/main" id="{37800E99-35C1-E84A-B66E-3E93553CEA97}"/>
                          </a:ext>
                        </a:extLst>
                      </p:cNvPr>
                      <p:cNvPicPr/>
                      <p:nvPr/>
                    </p:nvPicPr>
                    <p:blipFill>
                      <a:blip r:embed="rId5"/>
                      <a:stretch>
                        <a:fillRect/>
                      </a:stretch>
                    </p:blipFill>
                    <p:spPr>
                      <a:xfrm>
                        <a:off x="733105" y="848"/>
                        <a:ext cx="847" cy="847"/>
                      </a:xfrm>
                      <a:prstGeom prst="rect">
                        <a:avLst/>
                      </a:prstGeom>
                    </p:spPr>
                  </p:pic>
                </p:oleObj>
              </mc:Fallback>
            </mc:AlternateContent>
          </a:graphicData>
        </a:graphic>
      </p:graphicFrame>
      <p:grpSp>
        <p:nvGrpSpPr>
          <p:cNvPr id="3" name="object 3">
            <a:extLst>
              <a:ext uri="{FF2B5EF4-FFF2-40B4-BE49-F238E27FC236}">
                <a16:creationId xmlns:a16="http://schemas.microsoft.com/office/drawing/2014/main" id="{942FBA47-CF0A-1ECA-DAE6-C5A545EF5658}"/>
              </a:ext>
            </a:extLst>
          </p:cNvPr>
          <p:cNvGrpSpPr/>
          <p:nvPr/>
        </p:nvGrpSpPr>
        <p:grpSpPr>
          <a:xfrm>
            <a:off x="9199589" y="5616681"/>
            <a:ext cx="2268832" cy="1247248"/>
            <a:chOff x="15868405" y="10526075"/>
            <a:chExt cx="4251960" cy="2337435"/>
          </a:xfrm>
        </p:grpSpPr>
        <p:sp>
          <p:nvSpPr>
            <p:cNvPr id="4" name="object 4">
              <a:extLst>
                <a:ext uri="{FF2B5EF4-FFF2-40B4-BE49-F238E27FC236}">
                  <a16:creationId xmlns:a16="http://schemas.microsoft.com/office/drawing/2014/main" id="{1FF0A77E-EA74-9A2F-3AA4-563FC82A71EE}"/>
                </a:ext>
              </a:extLst>
            </p:cNvPr>
            <p:cNvSpPr/>
            <p:nvPr/>
          </p:nvSpPr>
          <p:spPr>
            <a:xfrm>
              <a:off x="17231200" y="11172070"/>
              <a:ext cx="587375" cy="579755"/>
            </a:xfrm>
            <a:custGeom>
              <a:avLst/>
              <a:gdLst/>
              <a:ahLst/>
              <a:cxnLst/>
              <a:rect l="l" t="t" r="r" b="b"/>
              <a:pathLst>
                <a:path w="587375" h="579754">
                  <a:moveTo>
                    <a:pt x="587259" y="0"/>
                  </a:moveTo>
                  <a:lnTo>
                    <a:pt x="513460" y="0"/>
                  </a:lnTo>
                  <a:lnTo>
                    <a:pt x="513460" y="285687"/>
                  </a:lnTo>
                  <a:lnTo>
                    <a:pt x="507898" y="334898"/>
                  </a:lnTo>
                  <a:lnTo>
                    <a:pt x="492045" y="380220"/>
                  </a:lnTo>
                  <a:lnTo>
                    <a:pt x="467148" y="420422"/>
                  </a:lnTo>
                  <a:lnTo>
                    <a:pt x="434457" y="454279"/>
                  </a:lnTo>
                  <a:lnTo>
                    <a:pt x="434457" y="0"/>
                  </a:lnTo>
                  <a:lnTo>
                    <a:pt x="358407" y="0"/>
                  </a:lnTo>
                  <a:lnTo>
                    <a:pt x="358407" y="495754"/>
                  </a:lnTo>
                  <a:lnTo>
                    <a:pt x="342810" y="499947"/>
                  </a:lnTo>
                  <a:lnTo>
                    <a:pt x="326785" y="503005"/>
                  </a:lnTo>
                  <a:lnTo>
                    <a:pt x="310376" y="504877"/>
                  </a:lnTo>
                  <a:lnTo>
                    <a:pt x="293624" y="505513"/>
                  </a:lnTo>
                  <a:lnTo>
                    <a:pt x="249374" y="501039"/>
                  </a:lnTo>
                  <a:lnTo>
                    <a:pt x="208134" y="488212"/>
                  </a:lnTo>
                  <a:lnTo>
                    <a:pt x="170795" y="467921"/>
                  </a:lnTo>
                  <a:lnTo>
                    <a:pt x="138248" y="441058"/>
                  </a:lnTo>
                  <a:lnTo>
                    <a:pt x="111383" y="408513"/>
                  </a:lnTo>
                  <a:lnTo>
                    <a:pt x="91090" y="371175"/>
                  </a:lnTo>
                  <a:lnTo>
                    <a:pt x="78262" y="329937"/>
                  </a:lnTo>
                  <a:lnTo>
                    <a:pt x="73788" y="285687"/>
                  </a:lnTo>
                  <a:lnTo>
                    <a:pt x="73788" y="272431"/>
                  </a:lnTo>
                  <a:lnTo>
                    <a:pt x="0" y="272431"/>
                  </a:lnTo>
                  <a:lnTo>
                    <a:pt x="0" y="285687"/>
                  </a:lnTo>
                  <a:lnTo>
                    <a:pt x="3850" y="333251"/>
                  </a:lnTo>
                  <a:lnTo>
                    <a:pt x="14995" y="378394"/>
                  </a:lnTo>
                  <a:lnTo>
                    <a:pt x="32825" y="420508"/>
                  </a:lnTo>
                  <a:lnTo>
                    <a:pt x="56731" y="458984"/>
                  </a:lnTo>
                  <a:lnTo>
                    <a:pt x="86103" y="493212"/>
                  </a:lnTo>
                  <a:lnTo>
                    <a:pt x="120332" y="522583"/>
                  </a:lnTo>
                  <a:lnTo>
                    <a:pt x="158808" y="546488"/>
                  </a:lnTo>
                  <a:lnTo>
                    <a:pt x="200921" y="564317"/>
                  </a:lnTo>
                  <a:lnTo>
                    <a:pt x="246063" y="575462"/>
                  </a:lnTo>
                  <a:lnTo>
                    <a:pt x="293624" y="579312"/>
                  </a:lnTo>
                  <a:lnTo>
                    <a:pt x="341190" y="575462"/>
                  </a:lnTo>
                  <a:lnTo>
                    <a:pt x="386336" y="564317"/>
                  </a:lnTo>
                  <a:lnTo>
                    <a:pt x="428452" y="546488"/>
                  </a:lnTo>
                  <a:lnTo>
                    <a:pt x="466929" y="522583"/>
                  </a:lnTo>
                  <a:lnTo>
                    <a:pt x="501158" y="493212"/>
                  </a:lnTo>
                  <a:lnTo>
                    <a:pt x="530530" y="458984"/>
                  </a:lnTo>
                  <a:lnTo>
                    <a:pt x="554435" y="420508"/>
                  </a:lnTo>
                  <a:lnTo>
                    <a:pt x="572265" y="378394"/>
                  </a:lnTo>
                  <a:lnTo>
                    <a:pt x="583409" y="333251"/>
                  </a:lnTo>
                  <a:lnTo>
                    <a:pt x="587259" y="285687"/>
                  </a:lnTo>
                  <a:lnTo>
                    <a:pt x="587259" y="0"/>
                  </a:lnTo>
                  <a:close/>
                </a:path>
              </a:pathLst>
            </a:custGeom>
            <a:solidFill>
              <a:srgbClr val="A78A4C"/>
            </a:solidFill>
          </p:spPr>
          <p:txBody>
            <a:bodyPr wrap="square" lIns="0" tIns="0" rIns="0" bIns="0" rtlCol="0"/>
            <a:lstStyle/>
            <a:p>
              <a:endParaRPr lang="en-US" sz="960" dirty="0"/>
            </a:p>
          </p:txBody>
        </p:sp>
        <p:pic>
          <p:nvPicPr>
            <p:cNvPr id="5" name="object 5">
              <a:extLst>
                <a:ext uri="{FF2B5EF4-FFF2-40B4-BE49-F238E27FC236}">
                  <a16:creationId xmlns:a16="http://schemas.microsoft.com/office/drawing/2014/main" id="{491690B0-FFAE-9596-136C-3C24C1E42993}"/>
                </a:ext>
              </a:extLst>
            </p:cNvPr>
            <p:cNvPicPr/>
            <p:nvPr/>
          </p:nvPicPr>
          <p:blipFill>
            <a:blip r:embed="rId6" cstate="print"/>
            <a:stretch>
              <a:fillRect/>
            </a:stretch>
          </p:blipFill>
          <p:spPr>
            <a:xfrm>
              <a:off x="18065730" y="11020372"/>
              <a:ext cx="91557" cy="243814"/>
            </a:xfrm>
            <a:prstGeom prst="rect">
              <a:avLst/>
            </a:prstGeom>
          </p:spPr>
        </p:pic>
        <p:pic>
          <p:nvPicPr>
            <p:cNvPr id="6" name="object 6">
              <a:extLst>
                <a:ext uri="{FF2B5EF4-FFF2-40B4-BE49-F238E27FC236}">
                  <a16:creationId xmlns:a16="http://schemas.microsoft.com/office/drawing/2014/main" id="{A9A90F66-F628-82FF-73F8-CACC882A3796}"/>
                </a:ext>
              </a:extLst>
            </p:cNvPr>
            <p:cNvPicPr/>
            <p:nvPr/>
          </p:nvPicPr>
          <p:blipFill>
            <a:blip r:embed="rId7" cstate="print"/>
            <a:stretch>
              <a:fillRect/>
            </a:stretch>
          </p:blipFill>
          <p:spPr>
            <a:xfrm>
              <a:off x="18196175" y="11020373"/>
              <a:ext cx="157984" cy="188088"/>
            </a:xfrm>
            <a:prstGeom prst="rect">
              <a:avLst/>
            </a:prstGeom>
          </p:spPr>
        </p:pic>
        <p:pic>
          <p:nvPicPr>
            <p:cNvPr id="7" name="object 7">
              <a:extLst>
                <a:ext uri="{FF2B5EF4-FFF2-40B4-BE49-F238E27FC236}">
                  <a16:creationId xmlns:a16="http://schemas.microsoft.com/office/drawing/2014/main" id="{D6652C15-40B3-798D-C509-2664EECE30AC}"/>
                </a:ext>
              </a:extLst>
            </p:cNvPr>
            <p:cNvPicPr/>
            <p:nvPr/>
          </p:nvPicPr>
          <p:blipFill>
            <a:blip r:embed="rId8" cstate="print"/>
            <a:stretch>
              <a:fillRect/>
            </a:stretch>
          </p:blipFill>
          <p:spPr>
            <a:xfrm>
              <a:off x="18384343" y="11017713"/>
              <a:ext cx="284270" cy="190748"/>
            </a:xfrm>
            <a:prstGeom prst="rect">
              <a:avLst/>
            </a:prstGeom>
          </p:spPr>
        </p:pic>
        <p:sp>
          <p:nvSpPr>
            <p:cNvPr id="8" name="object 8">
              <a:extLst>
                <a:ext uri="{FF2B5EF4-FFF2-40B4-BE49-F238E27FC236}">
                  <a16:creationId xmlns:a16="http://schemas.microsoft.com/office/drawing/2014/main" id="{40120713-F6D5-6E6F-C544-7D85F1C35053}"/>
                </a:ext>
              </a:extLst>
            </p:cNvPr>
            <p:cNvSpPr/>
            <p:nvPr/>
          </p:nvSpPr>
          <p:spPr>
            <a:xfrm>
              <a:off x="18695001" y="11020376"/>
              <a:ext cx="50165" cy="186055"/>
            </a:xfrm>
            <a:custGeom>
              <a:avLst/>
              <a:gdLst/>
              <a:ahLst/>
              <a:cxnLst/>
              <a:rect l="l" t="t" r="r" b="b"/>
              <a:pathLst>
                <a:path w="50165" h="186054">
                  <a:moveTo>
                    <a:pt x="50134" y="0"/>
                  </a:moveTo>
                  <a:lnTo>
                    <a:pt x="0" y="0"/>
                  </a:lnTo>
                  <a:lnTo>
                    <a:pt x="0" y="185554"/>
                  </a:lnTo>
                  <a:lnTo>
                    <a:pt x="50134" y="185554"/>
                  </a:lnTo>
                  <a:lnTo>
                    <a:pt x="50134" y="0"/>
                  </a:lnTo>
                  <a:close/>
                </a:path>
              </a:pathLst>
            </a:custGeom>
            <a:solidFill>
              <a:srgbClr val="7A7C81"/>
            </a:solidFill>
          </p:spPr>
          <p:txBody>
            <a:bodyPr wrap="square" lIns="0" tIns="0" rIns="0" bIns="0" rtlCol="0"/>
            <a:lstStyle/>
            <a:p>
              <a:endParaRPr lang="en-US" sz="960" dirty="0"/>
            </a:p>
          </p:txBody>
        </p:sp>
        <p:pic>
          <p:nvPicPr>
            <p:cNvPr id="9" name="object 9">
              <a:extLst>
                <a:ext uri="{FF2B5EF4-FFF2-40B4-BE49-F238E27FC236}">
                  <a16:creationId xmlns:a16="http://schemas.microsoft.com/office/drawing/2014/main" id="{967F1871-8143-194F-258A-5016CBFB3DA9}"/>
                </a:ext>
              </a:extLst>
            </p:cNvPr>
            <p:cNvPicPr/>
            <p:nvPr/>
          </p:nvPicPr>
          <p:blipFill>
            <a:blip r:embed="rId9" cstate="print"/>
            <a:stretch>
              <a:fillRect/>
            </a:stretch>
          </p:blipFill>
          <p:spPr>
            <a:xfrm>
              <a:off x="18778226" y="11017713"/>
              <a:ext cx="146738" cy="190748"/>
            </a:xfrm>
            <a:prstGeom prst="rect">
              <a:avLst/>
            </a:prstGeom>
          </p:spPr>
        </p:pic>
        <p:sp>
          <p:nvSpPr>
            <p:cNvPr id="10" name="object 10">
              <a:extLst>
                <a:ext uri="{FF2B5EF4-FFF2-40B4-BE49-F238E27FC236}">
                  <a16:creationId xmlns:a16="http://schemas.microsoft.com/office/drawing/2014/main" id="{2E959D04-A837-093F-762C-179026238880}"/>
                </a:ext>
              </a:extLst>
            </p:cNvPr>
            <p:cNvSpPr/>
            <p:nvPr/>
          </p:nvSpPr>
          <p:spPr>
            <a:xfrm>
              <a:off x="18952884" y="11020512"/>
              <a:ext cx="109855" cy="185420"/>
            </a:xfrm>
            <a:custGeom>
              <a:avLst/>
              <a:gdLst/>
              <a:ahLst/>
              <a:cxnLst/>
              <a:rect l="l" t="t" r="r" b="b"/>
              <a:pathLst>
                <a:path w="109855" h="185420">
                  <a:moveTo>
                    <a:pt x="109601" y="0"/>
                  </a:moveTo>
                  <a:lnTo>
                    <a:pt x="0" y="0"/>
                  </a:lnTo>
                  <a:lnTo>
                    <a:pt x="0" y="40640"/>
                  </a:lnTo>
                  <a:lnTo>
                    <a:pt x="0" y="69850"/>
                  </a:lnTo>
                  <a:lnTo>
                    <a:pt x="0" y="109220"/>
                  </a:lnTo>
                  <a:lnTo>
                    <a:pt x="0" y="144780"/>
                  </a:lnTo>
                  <a:lnTo>
                    <a:pt x="0" y="185420"/>
                  </a:lnTo>
                  <a:lnTo>
                    <a:pt x="109601" y="185420"/>
                  </a:lnTo>
                  <a:lnTo>
                    <a:pt x="109601" y="144780"/>
                  </a:lnTo>
                  <a:lnTo>
                    <a:pt x="49885" y="144780"/>
                  </a:lnTo>
                  <a:lnTo>
                    <a:pt x="49885" y="109220"/>
                  </a:lnTo>
                  <a:lnTo>
                    <a:pt x="105181" y="109220"/>
                  </a:lnTo>
                  <a:lnTo>
                    <a:pt x="105181" y="69850"/>
                  </a:lnTo>
                  <a:lnTo>
                    <a:pt x="49885" y="69850"/>
                  </a:lnTo>
                  <a:lnTo>
                    <a:pt x="49885" y="40640"/>
                  </a:lnTo>
                  <a:lnTo>
                    <a:pt x="109601" y="40640"/>
                  </a:lnTo>
                  <a:lnTo>
                    <a:pt x="109601" y="0"/>
                  </a:lnTo>
                  <a:close/>
                </a:path>
              </a:pathLst>
            </a:custGeom>
            <a:solidFill>
              <a:srgbClr val="7A7C81"/>
            </a:solidFill>
          </p:spPr>
          <p:txBody>
            <a:bodyPr wrap="square" lIns="0" tIns="0" rIns="0" bIns="0" rtlCol="0"/>
            <a:lstStyle/>
            <a:p>
              <a:endParaRPr lang="en-US" sz="960" dirty="0"/>
            </a:p>
          </p:txBody>
        </p:sp>
        <p:pic>
          <p:nvPicPr>
            <p:cNvPr id="11" name="object 11">
              <a:extLst>
                <a:ext uri="{FF2B5EF4-FFF2-40B4-BE49-F238E27FC236}">
                  <a16:creationId xmlns:a16="http://schemas.microsoft.com/office/drawing/2014/main" id="{8E119FF6-7DD1-B84C-F041-05103B265A6D}"/>
                </a:ext>
              </a:extLst>
            </p:cNvPr>
            <p:cNvPicPr/>
            <p:nvPr/>
          </p:nvPicPr>
          <p:blipFill>
            <a:blip r:embed="rId10" cstate="print"/>
            <a:stretch>
              <a:fillRect/>
            </a:stretch>
          </p:blipFill>
          <p:spPr>
            <a:xfrm>
              <a:off x="18055058" y="11302723"/>
              <a:ext cx="235657" cy="180287"/>
            </a:xfrm>
            <a:prstGeom prst="rect">
              <a:avLst/>
            </a:prstGeom>
          </p:spPr>
        </p:pic>
        <p:sp>
          <p:nvSpPr>
            <p:cNvPr id="12" name="object 12">
              <a:extLst>
                <a:ext uri="{FF2B5EF4-FFF2-40B4-BE49-F238E27FC236}">
                  <a16:creationId xmlns:a16="http://schemas.microsoft.com/office/drawing/2014/main" id="{7C85B731-CD5C-F613-AECB-06566A7E6CDE}"/>
                </a:ext>
              </a:extLst>
            </p:cNvPr>
            <p:cNvSpPr/>
            <p:nvPr/>
          </p:nvSpPr>
          <p:spPr>
            <a:xfrm>
              <a:off x="18316233" y="11302681"/>
              <a:ext cx="362585" cy="180340"/>
            </a:xfrm>
            <a:custGeom>
              <a:avLst/>
              <a:gdLst/>
              <a:ahLst/>
              <a:cxnLst/>
              <a:rect l="l" t="t" r="r" b="b"/>
              <a:pathLst>
                <a:path w="362584" h="180340">
                  <a:moveTo>
                    <a:pt x="29476" y="50"/>
                  </a:moveTo>
                  <a:lnTo>
                    <a:pt x="0" y="50"/>
                  </a:lnTo>
                  <a:lnTo>
                    <a:pt x="0" y="180340"/>
                  </a:lnTo>
                  <a:lnTo>
                    <a:pt x="29476" y="180340"/>
                  </a:lnTo>
                  <a:lnTo>
                    <a:pt x="29476" y="50"/>
                  </a:lnTo>
                  <a:close/>
                </a:path>
                <a:path w="362584" h="180340">
                  <a:moveTo>
                    <a:pt x="192379" y="0"/>
                  </a:moveTo>
                  <a:lnTo>
                    <a:pt x="56845" y="0"/>
                  </a:lnTo>
                  <a:lnTo>
                    <a:pt x="56845" y="25400"/>
                  </a:lnTo>
                  <a:lnTo>
                    <a:pt x="109880" y="25400"/>
                  </a:lnTo>
                  <a:lnTo>
                    <a:pt x="109880" y="180340"/>
                  </a:lnTo>
                  <a:lnTo>
                    <a:pt x="139344" y="180340"/>
                  </a:lnTo>
                  <a:lnTo>
                    <a:pt x="139344" y="25400"/>
                  </a:lnTo>
                  <a:lnTo>
                    <a:pt x="192379" y="25400"/>
                  </a:lnTo>
                  <a:lnTo>
                    <a:pt x="192379" y="0"/>
                  </a:lnTo>
                  <a:close/>
                </a:path>
                <a:path w="362584" h="180340">
                  <a:moveTo>
                    <a:pt x="362191" y="0"/>
                  </a:moveTo>
                  <a:lnTo>
                    <a:pt x="332587" y="0"/>
                  </a:lnTo>
                  <a:lnTo>
                    <a:pt x="332587" y="73660"/>
                  </a:lnTo>
                  <a:lnTo>
                    <a:pt x="249478" y="73660"/>
                  </a:lnTo>
                  <a:lnTo>
                    <a:pt x="249478" y="0"/>
                  </a:lnTo>
                  <a:lnTo>
                    <a:pt x="220002" y="0"/>
                  </a:lnTo>
                  <a:lnTo>
                    <a:pt x="220002" y="73660"/>
                  </a:lnTo>
                  <a:lnTo>
                    <a:pt x="220002" y="99060"/>
                  </a:lnTo>
                  <a:lnTo>
                    <a:pt x="220002" y="180340"/>
                  </a:lnTo>
                  <a:lnTo>
                    <a:pt x="249478" y="180340"/>
                  </a:lnTo>
                  <a:lnTo>
                    <a:pt x="249478" y="99060"/>
                  </a:lnTo>
                  <a:lnTo>
                    <a:pt x="332587" y="99060"/>
                  </a:lnTo>
                  <a:lnTo>
                    <a:pt x="332587" y="180340"/>
                  </a:lnTo>
                  <a:lnTo>
                    <a:pt x="362191" y="180340"/>
                  </a:lnTo>
                  <a:lnTo>
                    <a:pt x="362191" y="99060"/>
                  </a:lnTo>
                  <a:lnTo>
                    <a:pt x="362191" y="73660"/>
                  </a:lnTo>
                  <a:lnTo>
                    <a:pt x="362191" y="0"/>
                  </a:lnTo>
                  <a:close/>
                </a:path>
              </a:pathLst>
            </a:custGeom>
            <a:solidFill>
              <a:srgbClr val="7A7C81"/>
            </a:solidFill>
          </p:spPr>
          <p:txBody>
            <a:bodyPr wrap="square" lIns="0" tIns="0" rIns="0" bIns="0" rtlCol="0"/>
            <a:lstStyle/>
            <a:p>
              <a:endParaRPr lang="en-US" sz="960" dirty="0"/>
            </a:p>
          </p:txBody>
        </p:sp>
        <p:pic>
          <p:nvPicPr>
            <p:cNvPr id="13" name="object 13">
              <a:extLst>
                <a:ext uri="{FF2B5EF4-FFF2-40B4-BE49-F238E27FC236}">
                  <a16:creationId xmlns:a16="http://schemas.microsoft.com/office/drawing/2014/main" id="{6A1CE2E1-D44E-5906-8863-06FC33885702}"/>
                </a:ext>
              </a:extLst>
            </p:cNvPr>
            <p:cNvPicPr/>
            <p:nvPr/>
          </p:nvPicPr>
          <p:blipFill>
            <a:blip r:embed="rId11" cstate="print"/>
            <a:stretch>
              <a:fillRect/>
            </a:stretch>
          </p:blipFill>
          <p:spPr>
            <a:xfrm>
              <a:off x="18717022" y="11299886"/>
              <a:ext cx="168947" cy="185596"/>
            </a:xfrm>
            <a:prstGeom prst="rect">
              <a:avLst/>
            </a:prstGeom>
          </p:spPr>
        </p:pic>
        <p:pic>
          <p:nvPicPr>
            <p:cNvPr id="14" name="object 14">
              <a:extLst>
                <a:ext uri="{FF2B5EF4-FFF2-40B4-BE49-F238E27FC236}">
                  <a16:creationId xmlns:a16="http://schemas.microsoft.com/office/drawing/2014/main" id="{3013AE95-0F38-4B40-0A34-DC929FEDE98B}"/>
                </a:ext>
              </a:extLst>
            </p:cNvPr>
            <p:cNvPicPr/>
            <p:nvPr/>
          </p:nvPicPr>
          <p:blipFill>
            <a:blip r:embed="rId12" cstate="print"/>
            <a:stretch>
              <a:fillRect/>
            </a:stretch>
          </p:blipFill>
          <p:spPr>
            <a:xfrm>
              <a:off x="18923084" y="11302724"/>
              <a:ext cx="142927" cy="182758"/>
            </a:xfrm>
            <a:prstGeom prst="rect">
              <a:avLst/>
            </a:prstGeom>
          </p:spPr>
        </p:pic>
        <p:sp>
          <p:nvSpPr>
            <p:cNvPr id="15" name="object 15">
              <a:extLst>
                <a:ext uri="{FF2B5EF4-FFF2-40B4-BE49-F238E27FC236}">
                  <a16:creationId xmlns:a16="http://schemas.microsoft.com/office/drawing/2014/main" id="{6FF54D2D-5727-6CEE-46EC-CF297FAB3678}"/>
                </a:ext>
              </a:extLst>
            </p:cNvPr>
            <p:cNvSpPr/>
            <p:nvPr/>
          </p:nvSpPr>
          <p:spPr>
            <a:xfrm>
              <a:off x="18065725" y="11302681"/>
              <a:ext cx="1162050" cy="445134"/>
            </a:xfrm>
            <a:custGeom>
              <a:avLst/>
              <a:gdLst/>
              <a:ahLst/>
              <a:cxnLst/>
              <a:rect l="l" t="t" r="r" b="b"/>
              <a:pathLst>
                <a:path w="1162050" h="445134">
                  <a:moveTo>
                    <a:pt x="98767" y="433133"/>
                  </a:moveTo>
                  <a:lnTo>
                    <a:pt x="12598" y="433133"/>
                  </a:lnTo>
                  <a:lnTo>
                    <a:pt x="12598" y="264223"/>
                  </a:lnTo>
                  <a:lnTo>
                    <a:pt x="0" y="264223"/>
                  </a:lnTo>
                  <a:lnTo>
                    <a:pt x="0" y="433133"/>
                  </a:lnTo>
                  <a:lnTo>
                    <a:pt x="0" y="444563"/>
                  </a:lnTo>
                  <a:lnTo>
                    <a:pt x="98767" y="444563"/>
                  </a:lnTo>
                  <a:lnTo>
                    <a:pt x="98767" y="433133"/>
                  </a:lnTo>
                  <a:close/>
                </a:path>
                <a:path w="1162050" h="445134">
                  <a:moveTo>
                    <a:pt x="142532" y="263829"/>
                  </a:moveTo>
                  <a:lnTo>
                    <a:pt x="129921" y="263829"/>
                  </a:lnTo>
                  <a:lnTo>
                    <a:pt x="129921" y="444563"/>
                  </a:lnTo>
                  <a:lnTo>
                    <a:pt x="142532" y="444563"/>
                  </a:lnTo>
                  <a:lnTo>
                    <a:pt x="142532" y="263829"/>
                  </a:lnTo>
                  <a:close/>
                </a:path>
                <a:path w="1162050" h="445134">
                  <a:moveTo>
                    <a:pt x="299529" y="264223"/>
                  </a:moveTo>
                  <a:lnTo>
                    <a:pt x="169354" y="264223"/>
                  </a:lnTo>
                  <a:lnTo>
                    <a:pt x="169354" y="275653"/>
                  </a:lnTo>
                  <a:lnTo>
                    <a:pt x="228079" y="275653"/>
                  </a:lnTo>
                  <a:lnTo>
                    <a:pt x="228079" y="444563"/>
                  </a:lnTo>
                  <a:lnTo>
                    <a:pt x="240804" y="444563"/>
                  </a:lnTo>
                  <a:lnTo>
                    <a:pt x="240804" y="275653"/>
                  </a:lnTo>
                  <a:lnTo>
                    <a:pt x="299529" y="275653"/>
                  </a:lnTo>
                  <a:lnTo>
                    <a:pt x="299529" y="264223"/>
                  </a:lnTo>
                  <a:close/>
                </a:path>
                <a:path w="1162050" h="445134">
                  <a:moveTo>
                    <a:pt x="338963" y="263829"/>
                  </a:moveTo>
                  <a:lnTo>
                    <a:pt x="326351" y="263829"/>
                  </a:lnTo>
                  <a:lnTo>
                    <a:pt x="326351" y="444563"/>
                  </a:lnTo>
                  <a:lnTo>
                    <a:pt x="338963" y="444563"/>
                  </a:lnTo>
                  <a:lnTo>
                    <a:pt x="338963" y="263829"/>
                  </a:lnTo>
                  <a:close/>
                </a:path>
                <a:path w="1162050" h="445134">
                  <a:moveTo>
                    <a:pt x="1161707" y="0"/>
                  </a:moveTo>
                  <a:lnTo>
                    <a:pt x="1026172" y="0"/>
                  </a:lnTo>
                  <a:lnTo>
                    <a:pt x="1026172" y="25400"/>
                  </a:lnTo>
                  <a:lnTo>
                    <a:pt x="1079195" y="25400"/>
                  </a:lnTo>
                  <a:lnTo>
                    <a:pt x="1079195" y="180340"/>
                  </a:lnTo>
                  <a:lnTo>
                    <a:pt x="1108671" y="180340"/>
                  </a:lnTo>
                  <a:lnTo>
                    <a:pt x="1108671" y="25400"/>
                  </a:lnTo>
                  <a:lnTo>
                    <a:pt x="1161707" y="25400"/>
                  </a:lnTo>
                  <a:lnTo>
                    <a:pt x="1161707" y="0"/>
                  </a:lnTo>
                  <a:close/>
                </a:path>
              </a:pathLst>
            </a:custGeom>
            <a:solidFill>
              <a:srgbClr val="7A7C81"/>
            </a:solidFill>
          </p:spPr>
          <p:txBody>
            <a:bodyPr wrap="square" lIns="0" tIns="0" rIns="0" bIns="0" rtlCol="0"/>
            <a:lstStyle/>
            <a:p>
              <a:endParaRPr lang="en-US" sz="960" dirty="0"/>
            </a:p>
          </p:txBody>
        </p:sp>
        <p:pic>
          <p:nvPicPr>
            <p:cNvPr id="16" name="object 16">
              <a:extLst>
                <a:ext uri="{FF2B5EF4-FFF2-40B4-BE49-F238E27FC236}">
                  <a16:creationId xmlns:a16="http://schemas.microsoft.com/office/drawing/2014/main" id="{9F2D5C66-B688-BC89-97AC-B7425F4CD9BE}"/>
                </a:ext>
              </a:extLst>
            </p:cNvPr>
            <p:cNvPicPr/>
            <p:nvPr/>
          </p:nvPicPr>
          <p:blipFill>
            <a:blip r:embed="rId13" cstate="print"/>
            <a:stretch>
              <a:fillRect/>
            </a:stretch>
          </p:blipFill>
          <p:spPr>
            <a:xfrm>
              <a:off x="18446220" y="11563659"/>
              <a:ext cx="147367" cy="186046"/>
            </a:xfrm>
            <a:prstGeom prst="rect">
              <a:avLst/>
            </a:prstGeom>
          </p:spPr>
        </p:pic>
        <p:pic>
          <p:nvPicPr>
            <p:cNvPr id="17" name="object 17">
              <a:extLst>
                <a:ext uri="{FF2B5EF4-FFF2-40B4-BE49-F238E27FC236}">
                  <a16:creationId xmlns:a16="http://schemas.microsoft.com/office/drawing/2014/main" id="{D25E2318-D751-8356-3E3F-E9AE5D5F4D0A}"/>
                </a:ext>
              </a:extLst>
            </p:cNvPr>
            <p:cNvPicPr/>
            <p:nvPr/>
          </p:nvPicPr>
          <p:blipFill>
            <a:blip r:embed="rId14" cstate="print"/>
            <a:stretch>
              <a:fillRect/>
            </a:stretch>
          </p:blipFill>
          <p:spPr>
            <a:xfrm>
              <a:off x="18613357" y="11565767"/>
              <a:ext cx="283342" cy="181470"/>
            </a:xfrm>
            <a:prstGeom prst="rect">
              <a:avLst/>
            </a:prstGeom>
          </p:spPr>
        </p:pic>
        <p:sp>
          <p:nvSpPr>
            <p:cNvPr id="18" name="object 18">
              <a:extLst>
                <a:ext uri="{FF2B5EF4-FFF2-40B4-BE49-F238E27FC236}">
                  <a16:creationId xmlns:a16="http://schemas.microsoft.com/office/drawing/2014/main" id="{ED4A28D9-D1E9-FA44-1AC3-B30295DBFBD4}"/>
                </a:ext>
              </a:extLst>
            </p:cNvPr>
            <p:cNvSpPr/>
            <p:nvPr/>
          </p:nvSpPr>
          <p:spPr>
            <a:xfrm>
              <a:off x="18923528" y="11566506"/>
              <a:ext cx="12700" cy="180975"/>
            </a:xfrm>
            <a:custGeom>
              <a:avLst/>
              <a:gdLst/>
              <a:ahLst/>
              <a:cxnLst/>
              <a:rect l="l" t="t" r="r" b="b"/>
              <a:pathLst>
                <a:path w="12700" h="180975">
                  <a:moveTo>
                    <a:pt x="12606" y="0"/>
                  </a:moveTo>
                  <a:lnTo>
                    <a:pt x="0" y="0"/>
                  </a:lnTo>
                  <a:lnTo>
                    <a:pt x="0" y="180727"/>
                  </a:lnTo>
                  <a:lnTo>
                    <a:pt x="12606" y="180727"/>
                  </a:lnTo>
                  <a:lnTo>
                    <a:pt x="12606" y="0"/>
                  </a:lnTo>
                  <a:close/>
                </a:path>
              </a:pathLst>
            </a:custGeom>
            <a:solidFill>
              <a:srgbClr val="7A7C81"/>
            </a:solidFill>
          </p:spPr>
          <p:txBody>
            <a:bodyPr wrap="square" lIns="0" tIns="0" rIns="0" bIns="0" rtlCol="0"/>
            <a:lstStyle/>
            <a:p>
              <a:endParaRPr lang="en-US" sz="960" dirty="0"/>
            </a:p>
          </p:txBody>
        </p:sp>
        <p:pic>
          <p:nvPicPr>
            <p:cNvPr id="19" name="object 19">
              <a:extLst>
                <a:ext uri="{FF2B5EF4-FFF2-40B4-BE49-F238E27FC236}">
                  <a16:creationId xmlns:a16="http://schemas.microsoft.com/office/drawing/2014/main" id="{F8FA9370-ADEE-22FA-7E33-ECB6E521EE7D}"/>
                </a:ext>
              </a:extLst>
            </p:cNvPr>
            <p:cNvPicPr/>
            <p:nvPr/>
          </p:nvPicPr>
          <p:blipFill>
            <a:blip r:embed="rId15" cstate="print"/>
            <a:stretch>
              <a:fillRect/>
            </a:stretch>
          </p:blipFill>
          <p:spPr>
            <a:xfrm>
              <a:off x="18977667" y="11563661"/>
              <a:ext cx="161576" cy="186046"/>
            </a:xfrm>
            <a:prstGeom prst="rect">
              <a:avLst/>
            </a:prstGeom>
          </p:spPr>
        </p:pic>
        <p:pic>
          <p:nvPicPr>
            <p:cNvPr id="20" name="object 20">
              <a:extLst>
                <a:ext uri="{FF2B5EF4-FFF2-40B4-BE49-F238E27FC236}">
                  <a16:creationId xmlns:a16="http://schemas.microsoft.com/office/drawing/2014/main" id="{574EBDF4-699F-3531-3EBC-4230C7FCD65A}"/>
                </a:ext>
              </a:extLst>
            </p:cNvPr>
            <p:cNvPicPr/>
            <p:nvPr/>
          </p:nvPicPr>
          <p:blipFill>
            <a:blip r:embed="rId16" cstate="print"/>
            <a:stretch>
              <a:fillRect/>
            </a:stretch>
          </p:blipFill>
          <p:spPr>
            <a:xfrm>
              <a:off x="19180778" y="11566509"/>
              <a:ext cx="131409" cy="180727"/>
            </a:xfrm>
            <a:prstGeom prst="rect">
              <a:avLst/>
            </a:prstGeom>
          </p:spPr>
        </p:pic>
        <p:sp>
          <p:nvSpPr>
            <p:cNvPr id="21" name="object 21">
              <a:extLst>
                <a:ext uri="{FF2B5EF4-FFF2-40B4-BE49-F238E27FC236}">
                  <a16:creationId xmlns:a16="http://schemas.microsoft.com/office/drawing/2014/main" id="{D1F9BE17-D50C-CA39-6A31-CD2F0EE2941A}"/>
                </a:ext>
              </a:extLst>
            </p:cNvPr>
            <p:cNvSpPr/>
            <p:nvPr/>
          </p:nvSpPr>
          <p:spPr>
            <a:xfrm>
              <a:off x="17305002" y="11018376"/>
              <a:ext cx="513715" cy="76200"/>
            </a:xfrm>
            <a:custGeom>
              <a:avLst/>
              <a:gdLst/>
              <a:ahLst/>
              <a:cxnLst/>
              <a:rect l="l" t="t" r="r" b="b"/>
              <a:pathLst>
                <a:path w="513715" h="76200">
                  <a:moveTo>
                    <a:pt x="513418" y="0"/>
                  </a:moveTo>
                  <a:lnTo>
                    <a:pt x="0" y="0"/>
                  </a:lnTo>
                  <a:lnTo>
                    <a:pt x="0" y="76050"/>
                  </a:lnTo>
                  <a:lnTo>
                    <a:pt x="513418" y="76050"/>
                  </a:lnTo>
                  <a:lnTo>
                    <a:pt x="513418" y="0"/>
                  </a:lnTo>
                  <a:close/>
                </a:path>
              </a:pathLst>
            </a:custGeom>
            <a:solidFill>
              <a:srgbClr val="A78A4C"/>
            </a:solidFill>
          </p:spPr>
          <p:txBody>
            <a:bodyPr wrap="square" lIns="0" tIns="0" rIns="0" bIns="0" rtlCol="0"/>
            <a:lstStyle/>
            <a:p>
              <a:endParaRPr lang="en-US" sz="960" dirty="0"/>
            </a:p>
          </p:txBody>
        </p:sp>
        <p:sp>
          <p:nvSpPr>
            <p:cNvPr id="22" name="object 22">
              <a:extLst>
                <a:ext uri="{FF2B5EF4-FFF2-40B4-BE49-F238E27FC236}">
                  <a16:creationId xmlns:a16="http://schemas.microsoft.com/office/drawing/2014/main" id="{EFE83E27-48CC-9CDD-DD3E-D9023EFD1636}"/>
                </a:ext>
              </a:extLst>
            </p:cNvPr>
            <p:cNvSpPr/>
            <p:nvPr/>
          </p:nvSpPr>
          <p:spPr>
            <a:xfrm>
              <a:off x="15884111" y="10541781"/>
              <a:ext cx="4220210" cy="2306320"/>
            </a:xfrm>
            <a:custGeom>
              <a:avLst/>
              <a:gdLst/>
              <a:ahLst/>
              <a:cxnLst/>
              <a:rect l="l" t="t" r="r" b="b"/>
              <a:pathLst>
                <a:path w="4220209" h="2306320">
                  <a:moveTo>
                    <a:pt x="4219988" y="815958"/>
                  </a:moveTo>
                  <a:lnTo>
                    <a:pt x="4191904" y="882755"/>
                  </a:lnTo>
                  <a:lnTo>
                    <a:pt x="4172368" y="925143"/>
                  </a:lnTo>
                  <a:lnTo>
                    <a:pt x="4151819" y="966953"/>
                  </a:lnTo>
                  <a:lnTo>
                    <a:pt x="4130274" y="1008168"/>
                  </a:lnTo>
                  <a:lnTo>
                    <a:pt x="4107749" y="1048774"/>
                  </a:lnTo>
                  <a:lnTo>
                    <a:pt x="4084260" y="1088754"/>
                  </a:lnTo>
                  <a:lnTo>
                    <a:pt x="4059821" y="1128093"/>
                  </a:lnTo>
                  <a:lnTo>
                    <a:pt x="4034449" y="1166773"/>
                  </a:lnTo>
                  <a:lnTo>
                    <a:pt x="4008160" y="1204781"/>
                  </a:lnTo>
                  <a:lnTo>
                    <a:pt x="3980969" y="1242098"/>
                  </a:lnTo>
                  <a:lnTo>
                    <a:pt x="3952893" y="1278711"/>
                  </a:lnTo>
                  <a:lnTo>
                    <a:pt x="3923946" y="1314603"/>
                  </a:lnTo>
                  <a:lnTo>
                    <a:pt x="3894144" y="1349757"/>
                  </a:lnTo>
                  <a:lnTo>
                    <a:pt x="3863505" y="1384159"/>
                  </a:lnTo>
                  <a:lnTo>
                    <a:pt x="3832042" y="1417791"/>
                  </a:lnTo>
                  <a:lnTo>
                    <a:pt x="3799772" y="1450639"/>
                  </a:lnTo>
                  <a:lnTo>
                    <a:pt x="3766711" y="1482687"/>
                  </a:lnTo>
                  <a:lnTo>
                    <a:pt x="3732874" y="1513918"/>
                  </a:lnTo>
                  <a:lnTo>
                    <a:pt x="3698277" y="1544317"/>
                  </a:lnTo>
                  <a:lnTo>
                    <a:pt x="3662937" y="1573867"/>
                  </a:lnTo>
                  <a:lnTo>
                    <a:pt x="3626868" y="1602554"/>
                  </a:lnTo>
                  <a:lnTo>
                    <a:pt x="3590086" y="1630360"/>
                  </a:lnTo>
                  <a:lnTo>
                    <a:pt x="3552607" y="1657271"/>
                  </a:lnTo>
                  <a:lnTo>
                    <a:pt x="3514448" y="1683270"/>
                  </a:lnTo>
                  <a:lnTo>
                    <a:pt x="3475623" y="1708341"/>
                  </a:lnTo>
                  <a:lnTo>
                    <a:pt x="3436148" y="1732468"/>
                  </a:lnTo>
                  <a:lnTo>
                    <a:pt x="3396040" y="1755637"/>
                  </a:lnTo>
                  <a:lnTo>
                    <a:pt x="3355314" y="1777830"/>
                  </a:lnTo>
                  <a:lnTo>
                    <a:pt x="3313985" y="1799031"/>
                  </a:lnTo>
                  <a:lnTo>
                    <a:pt x="3272070" y="1819226"/>
                  </a:lnTo>
                  <a:lnTo>
                    <a:pt x="3229584" y="1838398"/>
                  </a:lnTo>
                  <a:lnTo>
                    <a:pt x="3186543" y="1856530"/>
                  </a:lnTo>
                  <a:lnTo>
                    <a:pt x="3142962" y="1873609"/>
                  </a:lnTo>
                  <a:lnTo>
                    <a:pt x="3098858" y="1889616"/>
                  </a:lnTo>
                  <a:lnTo>
                    <a:pt x="3054247" y="1904537"/>
                  </a:lnTo>
                  <a:lnTo>
                    <a:pt x="3009143" y="1918356"/>
                  </a:lnTo>
                  <a:lnTo>
                    <a:pt x="2963563" y="1931056"/>
                  </a:lnTo>
                  <a:lnTo>
                    <a:pt x="2917522" y="1942622"/>
                  </a:lnTo>
                  <a:lnTo>
                    <a:pt x="2871037" y="1953038"/>
                  </a:lnTo>
                  <a:lnTo>
                    <a:pt x="2824123" y="1962288"/>
                  </a:lnTo>
                  <a:lnTo>
                    <a:pt x="2776795" y="1970357"/>
                  </a:lnTo>
                  <a:lnTo>
                    <a:pt x="2729070" y="1977227"/>
                  </a:lnTo>
                  <a:lnTo>
                    <a:pt x="2680963" y="1982885"/>
                  </a:lnTo>
                  <a:lnTo>
                    <a:pt x="2632491" y="1987312"/>
                  </a:lnTo>
                  <a:lnTo>
                    <a:pt x="2583668" y="1990494"/>
                  </a:lnTo>
                  <a:lnTo>
                    <a:pt x="2534510" y="1992415"/>
                  </a:lnTo>
                  <a:lnTo>
                    <a:pt x="2485034" y="1993059"/>
                  </a:lnTo>
                  <a:lnTo>
                    <a:pt x="2436764" y="1992447"/>
                  </a:lnTo>
                  <a:lnTo>
                    <a:pt x="2388796" y="1990619"/>
                  </a:lnTo>
                  <a:lnTo>
                    <a:pt x="2341143" y="1987591"/>
                  </a:lnTo>
                  <a:lnTo>
                    <a:pt x="2293821" y="1983377"/>
                  </a:lnTo>
                  <a:lnTo>
                    <a:pt x="2246844" y="1977992"/>
                  </a:lnTo>
                  <a:lnTo>
                    <a:pt x="2200227" y="1971450"/>
                  </a:lnTo>
                  <a:lnTo>
                    <a:pt x="2153985" y="1963767"/>
                  </a:lnTo>
                  <a:lnTo>
                    <a:pt x="2108132" y="1954958"/>
                  </a:lnTo>
                  <a:lnTo>
                    <a:pt x="2062683" y="1945036"/>
                  </a:lnTo>
                  <a:lnTo>
                    <a:pt x="2017652" y="1934016"/>
                  </a:lnTo>
                  <a:lnTo>
                    <a:pt x="1973055" y="1921914"/>
                  </a:lnTo>
                  <a:lnTo>
                    <a:pt x="1928906" y="1908745"/>
                  </a:lnTo>
                  <a:lnTo>
                    <a:pt x="1885220" y="1894521"/>
                  </a:lnTo>
                  <a:lnTo>
                    <a:pt x="1842011" y="1879260"/>
                  </a:lnTo>
                  <a:lnTo>
                    <a:pt x="1799294" y="1862975"/>
                  </a:lnTo>
                  <a:lnTo>
                    <a:pt x="1757084" y="1845680"/>
                  </a:lnTo>
                  <a:lnTo>
                    <a:pt x="1715395" y="1827392"/>
                  </a:lnTo>
                  <a:lnTo>
                    <a:pt x="1674242" y="1808123"/>
                  </a:lnTo>
                  <a:lnTo>
                    <a:pt x="1633641" y="1787890"/>
                  </a:lnTo>
                  <a:lnTo>
                    <a:pt x="1593605" y="1766707"/>
                  </a:lnTo>
                  <a:lnTo>
                    <a:pt x="1554149" y="1744589"/>
                  </a:lnTo>
                  <a:lnTo>
                    <a:pt x="1515288" y="1721550"/>
                  </a:lnTo>
                  <a:lnTo>
                    <a:pt x="1477037" y="1697605"/>
                  </a:lnTo>
                  <a:lnTo>
                    <a:pt x="1439410" y="1672769"/>
                  </a:lnTo>
                  <a:lnTo>
                    <a:pt x="1402422" y="1647056"/>
                  </a:lnTo>
                  <a:lnTo>
                    <a:pt x="1366087" y="1620482"/>
                  </a:lnTo>
                  <a:lnTo>
                    <a:pt x="1330421" y="1593060"/>
                  </a:lnTo>
                  <a:lnTo>
                    <a:pt x="1295438" y="1564807"/>
                  </a:lnTo>
                  <a:lnTo>
                    <a:pt x="1261153" y="1535736"/>
                  </a:lnTo>
                  <a:lnTo>
                    <a:pt x="1227580" y="1505862"/>
                  </a:lnTo>
                  <a:lnTo>
                    <a:pt x="1194734" y="1475200"/>
                  </a:lnTo>
                  <a:lnTo>
                    <a:pt x="1162630" y="1443764"/>
                  </a:lnTo>
                  <a:lnTo>
                    <a:pt x="1131283" y="1411570"/>
                  </a:lnTo>
                  <a:lnTo>
                    <a:pt x="1100707" y="1378633"/>
                  </a:lnTo>
                  <a:lnTo>
                    <a:pt x="1070916" y="1344966"/>
                  </a:lnTo>
                  <a:lnTo>
                    <a:pt x="1041926" y="1310584"/>
                  </a:lnTo>
                  <a:lnTo>
                    <a:pt x="1013752" y="1275503"/>
                  </a:lnTo>
                  <a:lnTo>
                    <a:pt x="986407" y="1239737"/>
                  </a:lnTo>
                  <a:lnTo>
                    <a:pt x="959907" y="1203301"/>
                  </a:lnTo>
                  <a:lnTo>
                    <a:pt x="934266" y="1166209"/>
                  </a:lnTo>
                  <a:lnTo>
                    <a:pt x="909500" y="1128476"/>
                  </a:lnTo>
                  <a:lnTo>
                    <a:pt x="885621" y="1090118"/>
                  </a:lnTo>
                  <a:lnTo>
                    <a:pt x="862647" y="1051148"/>
                  </a:lnTo>
                  <a:lnTo>
                    <a:pt x="840590" y="1011581"/>
                  </a:lnTo>
                  <a:lnTo>
                    <a:pt x="819466" y="971433"/>
                  </a:lnTo>
                  <a:lnTo>
                    <a:pt x="799290" y="930717"/>
                  </a:lnTo>
                  <a:lnTo>
                    <a:pt x="780076" y="889449"/>
                  </a:lnTo>
                  <a:lnTo>
                    <a:pt x="761838" y="847644"/>
                  </a:lnTo>
                  <a:lnTo>
                    <a:pt x="744592" y="805315"/>
                  </a:lnTo>
                  <a:lnTo>
                    <a:pt x="728352" y="762479"/>
                  </a:lnTo>
                  <a:lnTo>
                    <a:pt x="713133" y="719148"/>
                  </a:lnTo>
                  <a:lnTo>
                    <a:pt x="698950" y="675339"/>
                  </a:lnTo>
                  <a:lnTo>
                    <a:pt x="685817" y="631066"/>
                  </a:lnTo>
                  <a:lnTo>
                    <a:pt x="673749" y="586344"/>
                  </a:lnTo>
                  <a:lnTo>
                    <a:pt x="662760" y="541187"/>
                  </a:lnTo>
                  <a:lnTo>
                    <a:pt x="652866" y="495610"/>
                  </a:lnTo>
                  <a:lnTo>
                    <a:pt x="644081" y="449629"/>
                  </a:lnTo>
                  <a:lnTo>
                    <a:pt x="636419" y="403256"/>
                  </a:lnTo>
                  <a:lnTo>
                    <a:pt x="629896" y="356509"/>
                  </a:lnTo>
                  <a:lnTo>
                    <a:pt x="624526" y="309400"/>
                  </a:lnTo>
                  <a:lnTo>
                    <a:pt x="620324" y="261945"/>
                  </a:lnTo>
                  <a:lnTo>
                    <a:pt x="617304" y="214159"/>
                  </a:lnTo>
                  <a:lnTo>
                    <a:pt x="615482" y="166055"/>
                  </a:lnTo>
                  <a:lnTo>
                    <a:pt x="614871" y="117650"/>
                  </a:lnTo>
                  <a:lnTo>
                    <a:pt x="615459" y="88007"/>
                  </a:lnTo>
                  <a:lnTo>
                    <a:pt x="616934" y="58593"/>
                  </a:lnTo>
                  <a:lnTo>
                    <a:pt x="618864" y="29295"/>
                  </a:lnTo>
                  <a:lnTo>
                    <a:pt x="620818" y="0"/>
                  </a:lnTo>
                  <a:lnTo>
                    <a:pt x="0" y="0"/>
                  </a:lnTo>
                  <a:lnTo>
                    <a:pt x="0" y="112425"/>
                  </a:lnTo>
                  <a:lnTo>
                    <a:pt x="462" y="160786"/>
                  </a:lnTo>
                  <a:lnTo>
                    <a:pt x="1844" y="208927"/>
                  </a:lnTo>
                  <a:lnTo>
                    <a:pt x="4137" y="256837"/>
                  </a:lnTo>
                  <a:lnTo>
                    <a:pt x="7333" y="304511"/>
                  </a:lnTo>
                  <a:lnTo>
                    <a:pt x="11422" y="351938"/>
                  </a:lnTo>
                  <a:lnTo>
                    <a:pt x="16398" y="399110"/>
                  </a:lnTo>
                  <a:lnTo>
                    <a:pt x="22251" y="446020"/>
                  </a:lnTo>
                  <a:lnTo>
                    <a:pt x="28973" y="492658"/>
                  </a:lnTo>
                  <a:lnTo>
                    <a:pt x="36555" y="539017"/>
                  </a:lnTo>
                  <a:lnTo>
                    <a:pt x="44990" y="585087"/>
                  </a:lnTo>
                  <a:lnTo>
                    <a:pt x="54268" y="630861"/>
                  </a:lnTo>
                  <a:lnTo>
                    <a:pt x="64382" y="676330"/>
                  </a:lnTo>
                  <a:lnTo>
                    <a:pt x="75322" y="721485"/>
                  </a:lnTo>
                  <a:lnTo>
                    <a:pt x="87081" y="766318"/>
                  </a:lnTo>
                  <a:lnTo>
                    <a:pt x="99650" y="810822"/>
                  </a:lnTo>
                  <a:lnTo>
                    <a:pt x="113021" y="854986"/>
                  </a:lnTo>
                  <a:lnTo>
                    <a:pt x="127185" y="898803"/>
                  </a:lnTo>
                  <a:lnTo>
                    <a:pt x="142133" y="942265"/>
                  </a:lnTo>
                  <a:lnTo>
                    <a:pt x="157858" y="985363"/>
                  </a:lnTo>
                  <a:lnTo>
                    <a:pt x="174351" y="1028088"/>
                  </a:lnTo>
                  <a:lnTo>
                    <a:pt x="191604" y="1070433"/>
                  </a:lnTo>
                  <a:lnTo>
                    <a:pt x="209607" y="1112388"/>
                  </a:lnTo>
                  <a:lnTo>
                    <a:pt x="228354" y="1153946"/>
                  </a:lnTo>
                  <a:lnTo>
                    <a:pt x="247835" y="1195098"/>
                  </a:lnTo>
                  <a:lnTo>
                    <a:pt x="268041" y="1235835"/>
                  </a:lnTo>
                  <a:lnTo>
                    <a:pt x="288965" y="1276149"/>
                  </a:lnTo>
                  <a:lnTo>
                    <a:pt x="310599" y="1316032"/>
                  </a:lnTo>
                  <a:lnTo>
                    <a:pt x="332932" y="1355475"/>
                  </a:lnTo>
                  <a:lnTo>
                    <a:pt x="355959" y="1394471"/>
                  </a:lnTo>
                  <a:lnTo>
                    <a:pt x="379668" y="1433009"/>
                  </a:lnTo>
                  <a:lnTo>
                    <a:pt x="404054" y="1471083"/>
                  </a:lnTo>
                  <a:lnTo>
                    <a:pt x="429106" y="1508683"/>
                  </a:lnTo>
                  <a:lnTo>
                    <a:pt x="454817" y="1545801"/>
                  </a:lnTo>
                  <a:lnTo>
                    <a:pt x="481178" y="1582429"/>
                  </a:lnTo>
                  <a:lnTo>
                    <a:pt x="508181" y="1618559"/>
                  </a:lnTo>
                  <a:lnTo>
                    <a:pt x="535817" y="1654181"/>
                  </a:lnTo>
                  <a:lnTo>
                    <a:pt x="564078" y="1689288"/>
                  </a:lnTo>
                  <a:lnTo>
                    <a:pt x="592956" y="1723871"/>
                  </a:lnTo>
                  <a:lnTo>
                    <a:pt x="622441" y="1757922"/>
                  </a:lnTo>
                  <a:lnTo>
                    <a:pt x="652527" y="1791432"/>
                  </a:lnTo>
                  <a:lnTo>
                    <a:pt x="683203" y="1824392"/>
                  </a:lnTo>
                  <a:lnTo>
                    <a:pt x="714463" y="1856796"/>
                  </a:lnTo>
                  <a:lnTo>
                    <a:pt x="746297" y="1888633"/>
                  </a:lnTo>
                  <a:lnTo>
                    <a:pt x="778697" y="1919895"/>
                  </a:lnTo>
                  <a:lnTo>
                    <a:pt x="811654" y="1950575"/>
                  </a:lnTo>
                  <a:lnTo>
                    <a:pt x="845161" y="1980664"/>
                  </a:lnTo>
                  <a:lnTo>
                    <a:pt x="879208" y="2010153"/>
                  </a:lnTo>
                  <a:lnTo>
                    <a:pt x="913788" y="2039033"/>
                  </a:lnTo>
                  <a:lnTo>
                    <a:pt x="948892" y="2067298"/>
                  </a:lnTo>
                  <a:lnTo>
                    <a:pt x="984511" y="2094937"/>
                  </a:lnTo>
                  <a:lnTo>
                    <a:pt x="1020637" y="2121943"/>
                  </a:lnTo>
                  <a:lnTo>
                    <a:pt x="1057262" y="2148307"/>
                  </a:lnTo>
                  <a:lnTo>
                    <a:pt x="1094378" y="2174021"/>
                  </a:lnTo>
                  <a:lnTo>
                    <a:pt x="1131975" y="2199077"/>
                  </a:lnTo>
                  <a:lnTo>
                    <a:pt x="1170046" y="2223465"/>
                  </a:lnTo>
                  <a:lnTo>
                    <a:pt x="1208582" y="2247178"/>
                  </a:lnTo>
                  <a:lnTo>
                    <a:pt x="1247574" y="2270207"/>
                  </a:lnTo>
                  <a:lnTo>
                    <a:pt x="1287014" y="2292544"/>
                  </a:lnTo>
                  <a:lnTo>
                    <a:pt x="1311807" y="2305994"/>
                  </a:lnTo>
                </a:path>
                <a:path w="4220209" h="2306320">
                  <a:moveTo>
                    <a:pt x="3669507" y="2305994"/>
                  </a:moveTo>
                  <a:lnTo>
                    <a:pt x="3733746" y="2270207"/>
                  </a:lnTo>
                  <a:lnTo>
                    <a:pt x="3772742" y="2247178"/>
                  </a:lnTo>
                  <a:lnTo>
                    <a:pt x="3811281" y="2223465"/>
                  </a:lnTo>
                  <a:lnTo>
                    <a:pt x="3849355" y="2199077"/>
                  </a:lnTo>
                  <a:lnTo>
                    <a:pt x="3886955" y="2174021"/>
                  </a:lnTo>
                  <a:lnTo>
                    <a:pt x="3924074" y="2148307"/>
                  </a:lnTo>
                  <a:lnTo>
                    <a:pt x="3960702" y="2121943"/>
                  </a:lnTo>
                  <a:lnTo>
                    <a:pt x="3996831" y="2094937"/>
                  </a:lnTo>
                  <a:lnTo>
                    <a:pt x="4032453" y="2067298"/>
                  </a:lnTo>
                  <a:lnTo>
                    <a:pt x="4067559" y="2039033"/>
                  </a:lnTo>
                  <a:lnTo>
                    <a:pt x="4102141" y="2010153"/>
                  </a:lnTo>
                  <a:lnTo>
                    <a:pt x="4136191" y="1980664"/>
                  </a:lnTo>
                  <a:lnTo>
                    <a:pt x="4169700" y="1950575"/>
                  </a:lnTo>
                  <a:lnTo>
                    <a:pt x="4202660" y="1919895"/>
                  </a:lnTo>
                  <a:lnTo>
                    <a:pt x="4219988" y="1903176"/>
                  </a:lnTo>
                </a:path>
              </a:pathLst>
            </a:custGeom>
            <a:ln w="31412">
              <a:solidFill>
                <a:srgbClr val="A78A4C"/>
              </a:solidFill>
            </a:ln>
          </p:spPr>
          <p:txBody>
            <a:bodyPr wrap="square" lIns="0" tIns="0" rIns="0" bIns="0" rtlCol="0"/>
            <a:lstStyle/>
            <a:p>
              <a:endParaRPr lang="en-US" sz="960" dirty="0"/>
            </a:p>
          </p:txBody>
        </p:sp>
      </p:grpSp>
      <p:sp>
        <p:nvSpPr>
          <p:cNvPr id="23" name="object 23">
            <a:extLst>
              <a:ext uri="{FF2B5EF4-FFF2-40B4-BE49-F238E27FC236}">
                <a16:creationId xmlns:a16="http://schemas.microsoft.com/office/drawing/2014/main" id="{DC4DF424-1C4E-D18B-ADC1-9B340117A361}"/>
              </a:ext>
            </a:extLst>
          </p:cNvPr>
          <p:cNvSpPr/>
          <p:nvPr/>
        </p:nvSpPr>
        <p:spPr>
          <a:xfrm>
            <a:off x="997639" y="0"/>
            <a:ext cx="336462" cy="2357268"/>
          </a:xfrm>
          <a:custGeom>
            <a:avLst/>
            <a:gdLst/>
            <a:ahLst/>
            <a:cxnLst/>
            <a:rect l="l" t="t" r="r" b="b"/>
            <a:pathLst>
              <a:path w="630555" h="4417695">
                <a:moveTo>
                  <a:pt x="630242" y="4083639"/>
                </a:moveTo>
                <a:lnTo>
                  <a:pt x="630242" y="4073744"/>
                </a:lnTo>
                <a:lnTo>
                  <a:pt x="630106" y="4073859"/>
                </a:lnTo>
                <a:lnTo>
                  <a:pt x="629855" y="4074090"/>
                </a:lnTo>
                <a:lnTo>
                  <a:pt x="629855" y="0"/>
                </a:lnTo>
              </a:path>
              <a:path w="630555" h="4417695">
                <a:moveTo>
                  <a:pt x="2434" y="0"/>
                </a:moveTo>
                <a:lnTo>
                  <a:pt x="0" y="2699357"/>
                </a:lnTo>
                <a:lnTo>
                  <a:pt x="0" y="4417388"/>
                </a:lnTo>
                <a:lnTo>
                  <a:pt x="49735" y="4401593"/>
                </a:lnTo>
                <a:lnTo>
                  <a:pt x="98845" y="4384492"/>
                </a:lnTo>
                <a:lnTo>
                  <a:pt x="147304" y="4366102"/>
                </a:lnTo>
                <a:lnTo>
                  <a:pt x="195086" y="4346440"/>
                </a:lnTo>
                <a:lnTo>
                  <a:pt x="242168" y="4325523"/>
                </a:lnTo>
                <a:lnTo>
                  <a:pt x="288524" y="4303369"/>
                </a:lnTo>
                <a:lnTo>
                  <a:pt x="334129" y="4279994"/>
                </a:lnTo>
                <a:lnTo>
                  <a:pt x="378959" y="4255416"/>
                </a:lnTo>
                <a:lnTo>
                  <a:pt x="422987" y="4229652"/>
                </a:lnTo>
                <a:lnTo>
                  <a:pt x="466190" y="4202719"/>
                </a:lnTo>
                <a:lnTo>
                  <a:pt x="508541" y="4174634"/>
                </a:lnTo>
                <a:lnTo>
                  <a:pt x="550017" y="4145414"/>
                </a:lnTo>
                <a:lnTo>
                  <a:pt x="590593" y="4115077"/>
                </a:lnTo>
                <a:lnTo>
                  <a:pt x="630242" y="4083639"/>
                </a:lnTo>
              </a:path>
            </a:pathLst>
          </a:custGeom>
          <a:ln w="31412">
            <a:solidFill>
              <a:srgbClr val="A78A4C"/>
            </a:solidFill>
          </a:ln>
        </p:spPr>
        <p:txBody>
          <a:bodyPr wrap="square" lIns="0" tIns="0" rIns="0" bIns="0" rtlCol="0"/>
          <a:lstStyle/>
          <a:p>
            <a:endParaRPr lang="en-US" sz="960" dirty="0"/>
          </a:p>
        </p:txBody>
      </p:sp>
      <p:sp>
        <p:nvSpPr>
          <p:cNvPr id="24" name="object 24">
            <a:extLst>
              <a:ext uri="{FF2B5EF4-FFF2-40B4-BE49-F238E27FC236}">
                <a16:creationId xmlns:a16="http://schemas.microsoft.com/office/drawing/2014/main" id="{5A677C91-FC94-89B2-14CA-5030E0BCB170}"/>
              </a:ext>
            </a:extLst>
          </p:cNvPr>
          <p:cNvSpPr/>
          <p:nvPr/>
        </p:nvSpPr>
        <p:spPr>
          <a:xfrm>
            <a:off x="9164251" y="239452"/>
            <a:ext cx="2295600" cy="361536"/>
          </a:xfrm>
          <a:custGeom>
            <a:avLst/>
            <a:gdLst/>
            <a:ahLst/>
            <a:cxnLst/>
            <a:rect l="l" t="t" r="r" b="b"/>
            <a:pathLst>
              <a:path w="4302125" h="677544">
                <a:moveTo>
                  <a:pt x="4301921" y="0"/>
                </a:moveTo>
                <a:lnTo>
                  <a:pt x="0" y="0"/>
                </a:lnTo>
                <a:lnTo>
                  <a:pt x="0" y="677036"/>
                </a:lnTo>
                <a:lnTo>
                  <a:pt x="4301921" y="677036"/>
                </a:lnTo>
              </a:path>
            </a:pathLst>
          </a:custGeom>
          <a:ln w="31412">
            <a:solidFill>
              <a:srgbClr val="A78A4C"/>
            </a:solidFill>
          </a:ln>
        </p:spPr>
        <p:txBody>
          <a:bodyPr wrap="square" lIns="0" tIns="0" rIns="0" bIns="0" rtlCol="0"/>
          <a:lstStyle/>
          <a:p>
            <a:endParaRPr lang="en-US" sz="960" dirty="0"/>
          </a:p>
        </p:txBody>
      </p:sp>
      <p:sp>
        <p:nvSpPr>
          <p:cNvPr id="26" name="object 26">
            <a:extLst>
              <a:ext uri="{FF2B5EF4-FFF2-40B4-BE49-F238E27FC236}">
                <a16:creationId xmlns:a16="http://schemas.microsoft.com/office/drawing/2014/main" id="{FD17D74B-A9E9-BBD2-4C6A-9235B10A6A0E}"/>
              </a:ext>
            </a:extLst>
          </p:cNvPr>
          <p:cNvSpPr txBox="1">
            <a:spLocks noGrp="1"/>
          </p:cNvSpPr>
          <p:nvPr>
            <p:ph type="sldNum" sz="quarter" idx="7"/>
          </p:nvPr>
        </p:nvSpPr>
        <p:spPr>
          <a:xfrm>
            <a:off x="1689596" y="12106784"/>
            <a:ext cx="299085" cy="248284"/>
          </a:xfrm>
          <a:prstGeom prst="rect">
            <a:avLst/>
          </a:prstGeom>
        </p:spPr>
        <p:txBody>
          <a:bodyPr vert="horz" wrap="square" lIns="0" tIns="0" rIns="0" bIns="0" rtlCol="0">
            <a:spAutoFit/>
          </a:bodyPr>
          <a:lstStyle>
            <a:defPPr>
              <a:defRPr lang="de-DE"/>
            </a:defPPr>
            <a:lvl1pPr marL="0" algn="l" defTabSz="914400" rtl="0" eaLnBrk="1" latinLnBrk="0" hangingPunct="1">
              <a:defRPr sz="1450" b="0" i="0" kern="1200">
                <a:solidFill>
                  <a:srgbClr val="A78A4C"/>
                </a:solidFill>
                <a:latin typeface="HelveticaNeue-Light"/>
                <a:ea typeface="+mn-ea"/>
                <a:cs typeface="HelveticaNeue-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85"/>
              </a:spcBef>
            </a:pPr>
            <a:fld id="{81D60167-4931-47E6-BA6A-407CBD079E47}" type="slidenum">
              <a:rPr lang="en-US" spc="15" smtClean="0"/>
              <a:pPr marL="38100">
                <a:spcBef>
                  <a:spcPts val="85"/>
                </a:spcBef>
              </a:pPr>
              <a:t>4</a:t>
            </a:fld>
            <a:endParaRPr lang="en-US" spc="8" dirty="0"/>
          </a:p>
        </p:txBody>
      </p:sp>
      <p:sp>
        <p:nvSpPr>
          <p:cNvPr id="27" name="object 27">
            <a:extLst>
              <a:ext uri="{FF2B5EF4-FFF2-40B4-BE49-F238E27FC236}">
                <a16:creationId xmlns:a16="http://schemas.microsoft.com/office/drawing/2014/main" id="{231C8BD7-D25E-8D2C-BE6E-BE859345064A}"/>
              </a:ext>
            </a:extLst>
          </p:cNvPr>
          <p:cNvSpPr txBox="1">
            <a:spLocks/>
          </p:cNvSpPr>
          <p:nvPr/>
        </p:nvSpPr>
        <p:spPr>
          <a:xfrm>
            <a:off x="5649805" y="6460142"/>
            <a:ext cx="892391" cy="124951"/>
          </a:xfrm>
          <a:prstGeom prst="rect">
            <a:avLst/>
          </a:prstGeom>
        </p:spPr>
        <p:txBody>
          <a:bodyPr vert="horz" wrap="square" lIns="0" tIns="5760" rIns="0" bIns="0" rtlCol="0">
            <a:spAutoFit/>
          </a:bodyPr>
          <a:lstStyle/>
          <a:p>
            <a:pPr marL="6777" algn="ctr">
              <a:spcBef>
                <a:spcPts val="45"/>
              </a:spcBef>
            </a:pPr>
            <a:r>
              <a:rPr lang="en-US" sz="774" spc="8" dirty="0">
                <a:solidFill>
                  <a:srgbClr val="A78A4C"/>
                </a:solidFill>
                <a:latin typeface="HelveticaNeue-Light"/>
                <a:cs typeface="HelveticaNeue-Light"/>
              </a:rPr>
              <a:t>11 July</a:t>
            </a:r>
            <a:r>
              <a:rPr lang="en-US" sz="774" spc="-13" dirty="0">
                <a:solidFill>
                  <a:srgbClr val="A78A4C"/>
                </a:solidFill>
                <a:latin typeface="HelveticaNeue-Light"/>
                <a:cs typeface="HelveticaNeue-Light"/>
              </a:rPr>
              <a:t> </a:t>
            </a:r>
            <a:r>
              <a:rPr lang="en-US" sz="774" spc="8" dirty="0">
                <a:solidFill>
                  <a:srgbClr val="A78A4C"/>
                </a:solidFill>
                <a:latin typeface="HelveticaNeue-Light"/>
                <a:cs typeface="HelveticaNeue-Light"/>
              </a:rPr>
              <a:t>2025</a:t>
            </a:r>
            <a:endParaRPr lang="en-US" sz="774" dirty="0">
              <a:latin typeface="HelveticaNeue-Light"/>
              <a:cs typeface="HelveticaNeue-Light"/>
            </a:endParaRPr>
          </a:p>
        </p:txBody>
      </p:sp>
      <p:sp>
        <p:nvSpPr>
          <p:cNvPr id="31" name="object 25">
            <a:extLst>
              <a:ext uri="{FF2B5EF4-FFF2-40B4-BE49-F238E27FC236}">
                <a16:creationId xmlns:a16="http://schemas.microsoft.com/office/drawing/2014/main" id="{A5C3B664-43A4-5B0C-9E72-5D92CF3B6C97}"/>
              </a:ext>
            </a:extLst>
          </p:cNvPr>
          <p:cNvSpPr txBox="1">
            <a:spLocks/>
          </p:cNvSpPr>
          <p:nvPr/>
        </p:nvSpPr>
        <p:spPr>
          <a:xfrm>
            <a:off x="1591942" y="778840"/>
            <a:ext cx="7268943" cy="532286"/>
          </a:xfrm>
          <a:prstGeom prst="rect">
            <a:avLst/>
          </a:prstGeom>
        </p:spPr>
        <p:txBody>
          <a:bodyPr vert="horz" wrap="square" lIns="0" tIns="6438" rIns="0" bIns="0" rtlCol="0">
            <a:spAutoFit/>
          </a:bodyPr>
          <a:lstStyle>
            <a:lvl1pPr>
              <a:defRPr sz="8250" b="0" i="0">
                <a:solidFill>
                  <a:srgbClr val="7A7C81"/>
                </a:solidFill>
                <a:latin typeface="Arial"/>
                <a:ea typeface="+mj-ea"/>
                <a:cs typeface="Arial"/>
              </a:defRPr>
            </a:lvl1pPr>
          </a:lstStyle>
          <a:p>
            <a:pPr marL="6777">
              <a:lnSpc>
                <a:spcPts val="4117"/>
              </a:lnSpc>
              <a:spcBef>
                <a:spcPts val="51"/>
              </a:spcBef>
            </a:pPr>
            <a:r>
              <a:rPr lang="en-US" sz="3522"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Research Question</a:t>
            </a:r>
            <a:endParaRPr lang="en-US" sz="2188"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object 25">
            <a:extLst>
              <a:ext uri="{FF2B5EF4-FFF2-40B4-BE49-F238E27FC236}">
                <a16:creationId xmlns:a16="http://schemas.microsoft.com/office/drawing/2014/main" id="{14948F11-3A19-0962-81B6-4297CF0843ED}"/>
              </a:ext>
            </a:extLst>
          </p:cNvPr>
          <p:cNvSpPr txBox="1">
            <a:spLocks noGrp="1"/>
          </p:cNvSpPr>
          <p:nvPr>
            <p:ph type="body" idx="1"/>
          </p:nvPr>
        </p:nvSpPr>
        <p:spPr>
          <a:xfrm>
            <a:off x="1591942" y="2488181"/>
            <a:ext cx="8774438" cy="940924"/>
          </a:xfrm>
          <a:prstGeom prst="rect">
            <a:avLst/>
          </a:prstGeom>
        </p:spPr>
        <p:txBody>
          <a:bodyPr vert="horz" wrap="square" lIns="0" tIns="6438" rIns="0" bIns="0" rtlCol="0">
            <a:spAutoFit/>
          </a:bodyPr>
          <a:lstStyle/>
          <a:p>
            <a:pPr marL="0" marR="17958" indent="0">
              <a:lnSpc>
                <a:spcPct val="150000"/>
              </a:lnSpc>
              <a:spcBef>
                <a:spcPts val="640"/>
              </a:spcBef>
              <a:buNone/>
            </a:pPr>
            <a:r>
              <a:rPr lang="en-US" sz="2134" b="1" dirty="0">
                <a:latin typeface="+mj-lt"/>
                <a:ea typeface="Open Sans" panose="020B0606030504020204" pitchFamily="34" charset="0"/>
                <a:cs typeface="Open Sans" panose="020B0606030504020204" pitchFamily="34" charset="0"/>
              </a:rPr>
              <a:t>“Which behavioral factors need to be considered to create the best client experience when settling consensual divorces in a notary setting?”</a:t>
            </a:r>
          </a:p>
        </p:txBody>
      </p:sp>
      <p:sp>
        <p:nvSpPr>
          <p:cNvPr id="25" name="Rectangle: Rounded Corners 24">
            <a:extLst>
              <a:ext uri="{FF2B5EF4-FFF2-40B4-BE49-F238E27FC236}">
                <a16:creationId xmlns:a16="http://schemas.microsoft.com/office/drawing/2014/main" id="{6DCFE7D6-BDD6-4804-E3CB-DD822AE6FF62}"/>
              </a:ext>
            </a:extLst>
          </p:cNvPr>
          <p:cNvSpPr/>
          <p:nvPr/>
        </p:nvSpPr>
        <p:spPr>
          <a:xfrm>
            <a:off x="1582731" y="3063059"/>
            <a:ext cx="1341783" cy="406601"/>
          </a:xfrm>
          <a:prstGeom prst="roundRect">
            <a:avLst/>
          </a:prstGeom>
          <a:noFill/>
          <a:ln w="57150">
            <a:solidFill>
              <a:srgbClr val="A78A4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28" name="TextBox 27">
            <a:extLst>
              <a:ext uri="{FF2B5EF4-FFF2-40B4-BE49-F238E27FC236}">
                <a16:creationId xmlns:a16="http://schemas.microsoft.com/office/drawing/2014/main" id="{CC89F5C5-A516-7B24-8507-8AD49935779B}"/>
              </a:ext>
            </a:extLst>
          </p:cNvPr>
          <p:cNvSpPr txBox="1"/>
          <p:nvPr/>
        </p:nvSpPr>
        <p:spPr>
          <a:xfrm>
            <a:off x="3288517" y="4079561"/>
            <a:ext cx="5614967" cy="1351652"/>
          </a:xfrm>
          <a:prstGeom prst="rect">
            <a:avLst/>
          </a:prstGeom>
          <a:noFill/>
        </p:spPr>
        <p:txBody>
          <a:bodyPr wrap="square" rtlCol="0">
            <a:spAutoFit/>
          </a:bodyPr>
          <a:lstStyle/>
          <a:p>
            <a:pPr marL="304952" indent="-304952">
              <a:spcAft>
                <a:spcPts val="320"/>
              </a:spcAft>
              <a:buClr>
                <a:srgbClr val="A78A4C"/>
              </a:buClr>
              <a:buFont typeface="Wingdings" panose="05000000000000000000" pitchFamily="2" charset="2"/>
              <a:buChar char="ü"/>
            </a:pPr>
            <a:r>
              <a:rPr lang="en-US" sz="1921" dirty="0"/>
              <a:t>Effectiveness in terms of efficient proceedings with good outcomes for both parties </a:t>
            </a:r>
          </a:p>
          <a:p>
            <a:pPr marL="304952" indent="-304952">
              <a:spcAft>
                <a:spcPts val="320"/>
              </a:spcAft>
              <a:buClr>
                <a:srgbClr val="A78A4C"/>
              </a:buClr>
              <a:buFont typeface="Wingdings" panose="05000000000000000000" pitchFamily="2" charset="2"/>
              <a:buChar char="ü"/>
            </a:pPr>
            <a:r>
              <a:rPr lang="en-US" sz="1921" dirty="0"/>
              <a:t>Professionalism and client-orientation</a:t>
            </a:r>
          </a:p>
          <a:p>
            <a:pPr marL="304952" indent="-304952">
              <a:spcAft>
                <a:spcPts val="320"/>
              </a:spcAft>
              <a:buClr>
                <a:srgbClr val="A78A4C"/>
              </a:buClr>
              <a:buFont typeface="Wingdings" panose="05000000000000000000" pitchFamily="2" charset="2"/>
              <a:buChar char="ü"/>
            </a:pPr>
            <a:r>
              <a:rPr lang="en-US" sz="1921" dirty="0"/>
              <a:t>Welcoming, save and comfortable environment</a:t>
            </a:r>
          </a:p>
        </p:txBody>
      </p:sp>
    </p:spTree>
    <p:extLst>
      <p:ext uri="{BB962C8B-B14F-4D97-AF65-F5344CB8AC3E}">
        <p14:creationId xmlns:p14="http://schemas.microsoft.com/office/powerpoint/2010/main" val="2755634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C50A3-9250-F4EF-EAF3-3A20981BBCEB}"/>
            </a:ext>
          </a:extLst>
        </p:cNvPr>
        <p:cNvGrpSpPr/>
        <p:nvPr/>
      </p:nvGrpSpPr>
      <p:grpSpPr>
        <a:xfrm>
          <a:off x="0" y="0"/>
          <a:ext cx="0" cy="0"/>
          <a:chOff x="0" y="0"/>
          <a:chExt cx="0" cy="0"/>
        </a:xfrm>
      </p:grpSpPr>
      <p:grpSp>
        <p:nvGrpSpPr>
          <p:cNvPr id="3" name="object 3">
            <a:extLst>
              <a:ext uri="{FF2B5EF4-FFF2-40B4-BE49-F238E27FC236}">
                <a16:creationId xmlns:a16="http://schemas.microsoft.com/office/drawing/2014/main" id="{5783AE8C-D522-530B-DEC4-0822712E432C}"/>
              </a:ext>
            </a:extLst>
          </p:cNvPr>
          <p:cNvGrpSpPr/>
          <p:nvPr/>
        </p:nvGrpSpPr>
        <p:grpSpPr>
          <a:xfrm>
            <a:off x="9199589" y="5616681"/>
            <a:ext cx="2268832" cy="1247248"/>
            <a:chOff x="15868405" y="10526075"/>
            <a:chExt cx="4251960" cy="2337435"/>
          </a:xfrm>
        </p:grpSpPr>
        <p:sp>
          <p:nvSpPr>
            <p:cNvPr id="4" name="object 4">
              <a:extLst>
                <a:ext uri="{FF2B5EF4-FFF2-40B4-BE49-F238E27FC236}">
                  <a16:creationId xmlns:a16="http://schemas.microsoft.com/office/drawing/2014/main" id="{FB63AE66-0E96-EFC2-DA82-1F0079A11AD1}"/>
                </a:ext>
              </a:extLst>
            </p:cNvPr>
            <p:cNvSpPr/>
            <p:nvPr/>
          </p:nvSpPr>
          <p:spPr>
            <a:xfrm>
              <a:off x="17231200" y="11172070"/>
              <a:ext cx="587375" cy="579755"/>
            </a:xfrm>
            <a:custGeom>
              <a:avLst/>
              <a:gdLst/>
              <a:ahLst/>
              <a:cxnLst/>
              <a:rect l="l" t="t" r="r" b="b"/>
              <a:pathLst>
                <a:path w="587375" h="579754">
                  <a:moveTo>
                    <a:pt x="587259" y="0"/>
                  </a:moveTo>
                  <a:lnTo>
                    <a:pt x="513460" y="0"/>
                  </a:lnTo>
                  <a:lnTo>
                    <a:pt x="513460" y="285687"/>
                  </a:lnTo>
                  <a:lnTo>
                    <a:pt x="507898" y="334898"/>
                  </a:lnTo>
                  <a:lnTo>
                    <a:pt x="492045" y="380220"/>
                  </a:lnTo>
                  <a:lnTo>
                    <a:pt x="467148" y="420422"/>
                  </a:lnTo>
                  <a:lnTo>
                    <a:pt x="434457" y="454279"/>
                  </a:lnTo>
                  <a:lnTo>
                    <a:pt x="434457" y="0"/>
                  </a:lnTo>
                  <a:lnTo>
                    <a:pt x="358407" y="0"/>
                  </a:lnTo>
                  <a:lnTo>
                    <a:pt x="358407" y="495754"/>
                  </a:lnTo>
                  <a:lnTo>
                    <a:pt x="342810" y="499947"/>
                  </a:lnTo>
                  <a:lnTo>
                    <a:pt x="326785" y="503005"/>
                  </a:lnTo>
                  <a:lnTo>
                    <a:pt x="310376" y="504877"/>
                  </a:lnTo>
                  <a:lnTo>
                    <a:pt x="293624" y="505513"/>
                  </a:lnTo>
                  <a:lnTo>
                    <a:pt x="249374" y="501039"/>
                  </a:lnTo>
                  <a:lnTo>
                    <a:pt x="208134" y="488212"/>
                  </a:lnTo>
                  <a:lnTo>
                    <a:pt x="170795" y="467921"/>
                  </a:lnTo>
                  <a:lnTo>
                    <a:pt x="138248" y="441058"/>
                  </a:lnTo>
                  <a:lnTo>
                    <a:pt x="111383" y="408513"/>
                  </a:lnTo>
                  <a:lnTo>
                    <a:pt x="91090" y="371175"/>
                  </a:lnTo>
                  <a:lnTo>
                    <a:pt x="78262" y="329937"/>
                  </a:lnTo>
                  <a:lnTo>
                    <a:pt x="73788" y="285687"/>
                  </a:lnTo>
                  <a:lnTo>
                    <a:pt x="73788" y="272431"/>
                  </a:lnTo>
                  <a:lnTo>
                    <a:pt x="0" y="272431"/>
                  </a:lnTo>
                  <a:lnTo>
                    <a:pt x="0" y="285687"/>
                  </a:lnTo>
                  <a:lnTo>
                    <a:pt x="3850" y="333251"/>
                  </a:lnTo>
                  <a:lnTo>
                    <a:pt x="14995" y="378394"/>
                  </a:lnTo>
                  <a:lnTo>
                    <a:pt x="32825" y="420508"/>
                  </a:lnTo>
                  <a:lnTo>
                    <a:pt x="56731" y="458984"/>
                  </a:lnTo>
                  <a:lnTo>
                    <a:pt x="86103" y="493212"/>
                  </a:lnTo>
                  <a:lnTo>
                    <a:pt x="120332" y="522583"/>
                  </a:lnTo>
                  <a:lnTo>
                    <a:pt x="158808" y="546488"/>
                  </a:lnTo>
                  <a:lnTo>
                    <a:pt x="200921" y="564317"/>
                  </a:lnTo>
                  <a:lnTo>
                    <a:pt x="246063" y="575462"/>
                  </a:lnTo>
                  <a:lnTo>
                    <a:pt x="293624" y="579312"/>
                  </a:lnTo>
                  <a:lnTo>
                    <a:pt x="341190" y="575462"/>
                  </a:lnTo>
                  <a:lnTo>
                    <a:pt x="386336" y="564317"/>
                  </a:lnTo>
                  <a:lnTo>
                    <a:pt x="428452" y="546488"/>
                  </a:lnTo>
                  <a:lnTo>
                    <a:pt x="466929" y="522583"/>
                  </a:lnTo>
                  <a:lnTo>
                    <a:pt x="501158" y="493212"/>
                  </a:lnTo>
                  <a:lnTo>
                    <a:pt x="530530" y="458984"/>
                  </a:lnTo>
                  <a:lnTo>
                    <a:pt x="554435" y="420508"/>
                  </a:lnTo>
                  <a:lnTo>
                    <a:pt x="572265" y="378394"/>
                  </a:lnTo>
                  <a:lnTo>
                    <a:pt x="583409" y="333251"/>
                  </a:lnTo>
                  <a:lnTo>
                    <a:pt x="587259" y="285687"/>
                  </a:lnTo>
                  <a:lnTo>
                    <a:pt x="587259" y="0"/>
                  </a:lnTo>
                  <a:close/>
                </a:path>
              </a:pathLst>
            </a:custGeom>
            <a:solidFill>
              <a:srgbClr val="A78A4C"/>
            </a:solidFill>
          </p:spPr>
          <p:txBody>
            <a:bodyPr wrap="square" lIns="0" tIns="0" rIns="0" bIns="0" rtlCol="0"/>
            <a:lstStyle/>
            <a:p>
              <a:endParaRPr lang="en-US" sz="960" dirty="0"/>
            </a:p>
          </p:txBody>
        </p:sp>
        <p:pic>
          <p:nvPicPr>
            <p:cNvPr id="5" name="object 5">
              <a:extLst>
                <a:ext uri="{FF2B5EF4-FFF2-40B4-BE49-F238E27FC236}">
                  <a16:creationId xmlns:a16="http://schemas.microsoft.com/office/drawing/2014/main" id="{85D2297E-1E64-EC56-0F63-01719F48435B}"/>
                </a:ext>
              </a:extLst>
            </p:cNvPr>
            <p:cNvPicPr/>
            <p:nvPr/>
          </p:nvPicPr>
          <p:blipFill>
            <a:blip r:embed="rId3" cstate="print"/>
            <a:stretch>
              <a:fillRect/>
            </a:stretch>
          </p:blipFill>
          <p:spPr>
            <a:xfrm>
              <a:off x="18065730" y="11020372"/>
              <a:ext cx="91557" cy="243814"/>
            </a:xfrm>
            <a:prstGeom prst="rect">
              <a:avLst/>
            </a:prstGeom>
          </p:spPr>
        </p:pic>
        <p:pic>
          <p:nvPicPr>
            <p:cNvPr id="6" name="object 6">
              <a:extLst>
                <a:ext uri="{FF2B5EF4-FFF2-40B4-BE49-F238E27FC236}">
                  <a16:creationId xmlns:a16="http://schemas.microsoft.com/office/drawing/2014/main" id="{68D98D7C-914D-9971-FBA5-63683D7E98DB}"/>
                </a:ext>
              </a:extLst>
            </p:cNvPr>
            <p:cNvPicPr/>
            <p:nvPr/>
          </p:nvPicPr>
          <p:blipFill>
            <a:blip r:embed="rId4" cstate="print"/>
            <a:stretch>
              <a:fillRect/>
            </a:stretch>
          </p:blipFill>
          <p:spPr>
            <a:xfrm>
              <a:off x="18196175" y="11020373"/>
              <a:ext cx="157984" cy="188088"/>
            </a:xfrm>
            <a:prstGeom prst="rect">
              <a:avLst/>
            </a:prstGeom>
          </p:spPr>
        </p:pic>
        <p:pic>
          <p:nvPicPr>
            <p:cNvPr id="7" name="object 7">
              <a:extLst>
                <a:ext uri="{FF2B5EF4-FFF2-40B4-BE49-F238E27FC236}">
                  <a16:creationId xmlns:a16="http://schemas.microsoft.com/office/drawing/2014/main" id="{530C3A3E-21CA-DDC9-7502-5A0C8E872D9A}"/>
                </a:ext>
              </a:extLst>
            </p:cNvPr>
            <p:cNvPicPr/>
            <p:nvPr/>
          </p:nvPicPr>
          <p:blipFill>
            <a:blip r:embed="rId5" cstate="print"/>
            <a:stretch>
              <a:fillRect/>
            </a:stretch>
          </p:blipFill>
          <p:spPr>
            <a:xfrm>
              <a:off x="18384343" y="11017713"/>
              <a:ext cx="284270" cy="190748"/>
            </a:xfrm>
            <a:prstGeom prst="rect">
              <a:avLst/>
            </a:prstGeom>
          </p:spPr>
        </p:pic>
        <p:sp>
          <p:nvSpPr>
            <p:cNvPr id="8" name="object 8">
              <a:extLst>
                <a:ext uri="{FF2B5EF4-FFF2-40B4-BE49-F238E27FC236}">
                  <a16:creationId xmlns:a16="http://schemas.microsoft.com/office/drawing/2014/main" id="{4B17AA2D-03B4-3F22-E434-C725DD22B621}"/>
                </a:ext>
              </a:extLst>
            </p:cNvPr>
            <p:cNvSpPr/>
            <p:nvPr/>
          </p:nvSpPr>
          <p:spPr>
            <a:xfrm>
              <a:off x="18695001" y="11020376"/>
              <a:ext cx="50165" cy="186055"/>
            </a:xfrm>
            <a:custGeom>
              <a:avLst/>
              <a:gdLst/>
              <a:ahLst/>
              <a:cxnLst/>
              <a:rect l="l" t="t" r="r" b="b"/>
              <a:pathLst>
                <a:path w="50165" h="186054">
                  <a:moveTo>
                    <a:pt x="50134" y="0"/>
                  </a:moveTo>
                  <a:lnTo>
                    <a:pt x="0" y="0"/>
                  </a:lnTo>
                  <a:lnTo>
                    <a:pt x="0" y="185554"/>
                  </a:lnTo>
                  <a:lnTo>
                    <a:pt x="50134" y="185554"/>
                  </a:lnTo>
                  <a:lnTo>
                    <a:pt x="50134" y="0"/>
                  </a:lnTo>
                  <a:close/>
                </a:path>
              </a:pathLst>
            </a:custGeom>
            <a:solidFill>
              <a:srgbClr val="7A7C81"/>
            </a:solidFill>
          </p:spPr>
          <p:txBody>
            <a:bodyPr wrap="square" lIns="0" tIns="0" rIns="0" bIns="0" rtlCol="0"/>
            <a:lstStyle/>
            <a:p>
              <a:endParaRPr lang="en-US" sz="960" dirty="0"/>
            </a:p>
          </p:txBody>
        </p:sp>
        <p:pic>
          <p:nvPicPr>
            <p:cNvPr id="9" name="object 9">
              <a:extLst>
                <a:ext uri="{FF2B5EF4-FFF2-40B4-BE49-F238E27FC236}">
                  <a16:creationId xmlns:a16="http://schemas.microsoft.com/office/drawing/2014/main" id="{C6C7F659-CD33-F945-36E6-F5DED56D7979}"/>
                </a:ext>
              </a:extLst>
            </p:cNvPr>
            <p:cNvPicPr/>
            <p:nvPr/>
          </p:nvPicPr>
          <p:blipFill>
            <a:blip r:embed="rId6" cstate="print"/>
            <a:stretch>
              <a:fillRect/>
            </a:stretch>
          </p:blipFill>
          <p:spPr>
            <a:xfrm>
              <a:off x="18778226" y="11017713"/>
              <a:ext cx="146738" cy="190748"/>
            </a:xfrm>
            <a:prstGeom prst="rect">
              <a:avLst/>
            </a:prstGeom>
          </p:spPr>
        </p:pic>
        <p:sp>
          <p:nvSpPr>
            <p:cNvPr id="10" name="object 10">
              <a:extLst>
                <a:ext uri="{FF2B5EF4-FFF2-40B4-BE49-F238E27FC236}">
                  <a16:creationId xmlns:a16="http://schemas.microsoft.com/office/drawing/2014/main" id="{EEF3EAC8-3F4F-A4AE-EB1C-222724FDF8F1}"/>
                </a:ext>
              </a:extLst>
            </p:cNvPr>
            <p:cNvSpPr/>
            <p:nvPr/>
          </p:nvSpPr>
          <p:spPr>
            <a:xfrm>
              <a:off x="18952884" y="11020512"/>
              <a:ext cx="109855" cy="185420"/>
            </a:xfrm>
            <a:custGeom>
              <a:avLst/>
              <a:gdLst/>
              <a:ahLst/>
              <a:cxnLst/>
              <a:rect l="l" t="t" r="r" b="b"/>
              <a:pathLst>
                <a:path w="109855" h="185420">
                  <a:moveTo>
                    <a:pt x="109601" y="0"/>
                  </a:moveTo>
                  <a:lnTo>
                    <a:pt x="0" y="0"/>
                  </a:lnTo>
                  <a:lnTo>
                    <a:pt x="0" y="40640"/>
                  </a:lnTo>
                  <a:lnTo>
                    <a:pt x="0" y="69850"/>
                  </a:lnTo>
                  <a:lnTo>
                    <a:pt x="0" y="109220"/>
                  </a:lnTo>
                  <a:lnTo>
                    <a:pt x="0" y="144780"/>
                  </a:lnTo>
                  <a:lnTo>
                    <a:pt x="0" y="185420"/>
                  </a:lnTo>
                  <a:lnTo>
                    <a:pt x="109601" y="185420"/>
                  </a:lnTo>
                  <a:lnTo>
                    <a:pt x="109601" y="144780"/>
                  </a:lnTo>
                  <a:lnTo>
                    <a:pt x="49885" y="144780"/>
                  </a:lnTo>
                  <a:lnTo>
                    <a:pt x="49885" y="109220"/>
                  </a:lnTo>
                  <a:lnTo>
                    <a:pt x="105181" y="109220"/>
                  </a:lnTo>
                  <a:lnTo>
                    <a:pt x="105181" y="69850"/>
                  </a:lnTo>
                  <a:lnTo>
                    <a:pt x="49885" y="69850"/>
                  </a:lnTo>
                  <a:lnTo>
                    <a:pt x="49885" y="40640"/>
                  </a:lnTo>
                  <a:lnTo>
                    <a:pt x="109601" y="40640"/>
                  </a:lnTo>
                  <a:lnTo>
                    <a:pt x="109601" y="0"/>
                  </a:lnTo>
                  <a:close/>
                </a:path>
              </a:pathLst>
            </a:custGeom>
            <a:solidFill>
              <a:srgbClr val="7A7C81"/>
            </a:solidFill>
          </p:spPr>
          <p:txBody>
            <a:bodyPr wrap="square" lIns="0" tIns="0" rIns="0" bIns="0" rtlCol="0"/>
            <a:lstStyle/>
            <a:p>
              <a:endParaRPr lang="en-US" sz="960" dirty="0"/>
            </a:p>
          </p:txBody>
        </p:sp>
        <p:pic>
          <p:nvPicPr>
            <p:cNvPr id="11" name="object 11">
              <a:extLst>
                <a:ext uri="{FF2B5EF4-FFF2-40B4-BE49-F238E27FC236}">
                  <a16:creationId xmlns:a16="http://schemas.microsoft.com/office/drawing/2014/main" id="{7FE22700-35DB-84E6-9C20-B5C1CD7C4D69}"/>
                </a:ext>
              </a:extLst>
            </p:cNvPr>
            <p:cNvPicPr/>
            <p:nvPr/>
          </p:nvPicPr>
          <p:blipFill>
            <a:blip r:embed="rId7" cstate="print"/>
            <a:stretch>
              <a:fillRect/>
            </a:stretch>
          </p:blipFill>
          <p:spPr>
            <a:xfrm>
              <a:off x="18055058" y="11302723"/>
              <a:ext cx="235657" cy="180287"/>
            </a:xfrm>
            <a:prstGeom prst="rect">
              <a:avLst/>
            </a:prstGeom>
          </p:spPr>
        </p:pic>
        <p:sp>
          <p:nvSpPr>
            <p:cNvPr id="12" name="object 12">
              <a:extLst>
                <a:ext uri="{FF2B5EF4-FFF2-40B4-BE49-F238E27FC236}">
                  <a16:creationId xmlns:a16="http://schemas.microsoft.com/office/drawing/2014/main" id="{DF9B11D4-8CC0-4C0C-8F12-F8D5B021E690}"/>
                </a:ext>
              </a:extLst>
            </p:cNvPr>
            <p:cNvSpPr/>
            <p:nvPr/>
          </p:nvSpPr>
          <p:spPr>
            <a:xfrm>
              <a:off x="18316233" y="11302681"/>
              <a:ext cx="362585" cy="180340"/>
            </a:xfrm>
            <a:custGeom>
              <a:avLst/>
              <a:gdLst/>
              <a:ahLst/>
              <a:cxnLst/>
              <a:rect l="l" t="t" r="r" b="b"/>
              <a:pathLst>
                <a:path w="362584" h="180340">
                  <a:moveTo>
                    <a:pt x="29476" y="50"/>
                  </a:moveTo>
                  <a:lnTo>
                    <a:pt x="0" y="50"/>
                  </a:lnTo>
                  <a:lnTo>
                    <a:pt x="0" y="180340"/>
                  </a:lnTo>
                  <a:lnTo>
                    <a:pt x="29476" y="180340"/>
                  </a:lnTo>
                  <a:lnTo>
                    <a:pt x="29476" y="50"/>
                  </a:lnTo>
                  <a:close/>
                </a:path>
                <a:path w="362584" h="180340">
                  <a:moveTo>
                    <a:pt x="192379" y="0"/>
                  </a:moveTo>
                  <a:lnTo>
                    <a:pt x="56845" y="0"/>
                  </a:lnTo>
                  <a:lnTo>
                    <a:pt x="56845" y="25400"/>
                  </a:lnTo>
                  <a:lnTo>
                    <a:pt x="109880" y="25400"/>
                  </a:lnTo>
                  <a:lnTo>
                    <a:pt x="109880" y="180340"/>
                  </a:lnTo>
                  <a:lnTo>
                    <a:pt x="139344" y="180340"/>
                  </a:lnTo>
                  <a:lnTo>
                    <a:pt x="139344" y="25400"/>
                  </a:lnTo>
                  <a:lnTo>
                    <a:pt x="192379" y="25400"/>
                  </a:lnTo>
                  <a:lnTo>
                    <a:pt x="192379" y="0"/>
                  </a:lnTo>
                  <a:close/>
                </a:path>
                <a:path w="362584" h="180340">
                  <a:moveTo>
                    <a:pt x="362191" y="0"/>
                  </a:moveTo>
                  <a:lnTo>
                    <a:pt x="332587" y="0"/>
                  </a:lnTo>
                  <a:lnTo>
                    <a:pt x="332587" y="73660"/>
                  </a:lnTo>
                  <a:lnTo>
                    <a:pt x="249478" y="73660"/>
                  </a:lnTo>
                  <a:lnTo>
                    <a:pt x="249478" y="0"/>
                  </a:lnTo>
                  <a:lnTo>
                    <a:pt x="220002" y="0"/>
                  </a:lnTo>
                  <a:lnTo>
                    <a:pt x="220002" y="73660"/>
                  </a:lnTo>
                  <a:lnTo>
                    <a:pt x="220002" y="99060"/>
                  </a:lnTo>
                  <a:lnTo>
                    <a:pt x="220002" y="180340"/>
                  </a:lnTo>
                  <a:lnTo>
                    <a:pt x="249478" y="180340"/>
                  </a:lnTo>
                  <a:lnTo>
                    <a:pt x="249478" y="99060"/>
                  </a:lnTo>
                  <a:lnTo>
                    <a:pt x="332587" y="99060"/>
                  </a:lnTo>
                  <a:lnTo>
                    <a:pt x="332587" y="180340"/>
                  </a:lnTo>
                  <a:lnTo>
                    <a:pt x="362191" y="180340"/>
                  </a:lnTo>
                  <a:lnTo>
                    <a:pt x="362191" y="99060"/>
                  </a:lnTo>
                  <a:lnTo>
                    <a:pt x="362191" y="73660"/>
                  </a:lnTo>
                  <a:lnTo>
                    <a:pt x="362191" y="0"/>
                  </a:lnTo>
                  <a:close/>
                </a:path>
              </a:pathLst>
            </a:custGeom>
            <a:solidFill>
              <a:srgbClr val="7A7C81"/>
            </a:solidFill>
          </p:spPr>
          <p:txBody>
            <a:bodyPr wrap="square" lIns="0" tIns="0" rIns="0" bIns="0" rtlCol="0"/>
            <a:lstStyle/>
            <a:p>
              <a:endParaRPr lang="en-US" sz="960" dirty="0"/>
            </a:p>
          </p:txBody>
        </p:sp>
        <p:pic>
          <p:nvPicPr>
            <p:cNvPr id="13" name="object 13">
              <a:extLst>
                <a:ext uri="{FF2B5EF4-FFF2-40B4-BE49-F238E27FC236}">
                  <a16:creationId xmlns:a16="http://schemas.microsoft.com/office/drawing/2014/main" id="{89FCEF8D-9A54-B71B-F88E-5D726EC6B199}"/>
                </a:ext>
              </a:extLst>
            </p:cNvPr>
            <p:cNvPicPr/>
            <p:nvPr/>
          </p:nvPicPr>
          <p:blipFill>
            <a:blip r:embed="rId8" cstate="print"/>
            <a:stretch>
              <a:fillRect/>
            </a:stretch>
          </p:blipFill>
          <p:spPr>
            <a:xfrm>
              <a:off x="18717022" y="11299886"/>
              <a:ext cx="168947" cy="185596"/>
            </a:xfrm>
            <a:prstGeom prst="rect">
              <a:avLst/>
            </a:prstGeom>
          </p:spPr>
        </p:pic>
        <p:pic>
          <p:nvPicPr>
            <p:cNvPr id="14" name="object 14">
              <a:extLst>
                <a:ext uri="{FF2B5EF4-FFF2-40B4-BE49-F238E27FC236}">
                  <a16:creationId xmlns:a16="http://schemas.microsoft.com/office/drawing/2014/main" id="{233F145D-CE1A-52AC-D1E5-F33A26B65275}"/>
                </a:ext>
              </a:extLst>
            </p:cNvPr>
            <p:cNvPicPr/>
            <p:nvPr/>
          </p:nvPicPr>
          <p:blipFill>
            <a:blip r:embed="rId9" cstate="print"/>
            <a:stretch>
              <a:fillRect/>
            </a:stretch>
          </p:blipFill>
          <p:spPr>
            <a:xfrm>
              <a:off x="18923084" y="11302724"/>
              <a:ext cx="142927" cy="182758"/>
            </a:xfrm>
            <a:prstGeom prst="rect">
              <a:avLst/>
            </a:prstGeom>
          </p:spPr>
        </p:pic>
        <p:sp>
          <p:nvSpPr>
            <p:cNvPr id="15" name="object 15">
              <a:extLst>
                <a:ext uri="{FF2B5EF4-FFF2-40B4-BE49-F238E27FC236}">
                  <a16:creationId xmlns:a16="http://schemas.microsoft.com/office/drawing/2014/main" id="{A51015A3-BDDA-74F4-0D30-5BD24CBFFDCD}"/>
                </a:ext>
              </a:extLst>
            </p:cNvPr>
            <p:cNvSpPr/>
            <p:nvPr/>
          </p:nvSpPr>
          <p:spPr>
            <a:xfrm>
              <a:off x="18065725" y="11302681"/>
              <a:ext cx="1162050" cy="445134"/>
            </a:xfrm>
            <a:custGeom>
              <a:avLst/>
              <a:gdLst/>
              <a:ahLst/>
              <a:cxnLst/>
              <a:rect l="l" t="t" r="r" b="b"/>
              <a:pathLst>
                <a:path w="1162050" h="445134">
                  <a:moveTo>
                    <a:pt x="98767" y="433133"/>
                  </a:moveTo>
                  <a:lnTo>
                    <a:pt x="12598" y="433133"/>
                  </a:lnTo>
                  <a:lnTo>
                    <a:pt x="12598" y="264223"/>
                  </a:lnTo>
                  <a:lnTo>
                    <a:pt x="0" y="264223"/>
                  </a:lnTo>
                  <a:lnTo>
                    <a:pt x="0" y="433133"/>
                  </a:lnTo>
                  <a:lnTo>
                    <a:pt x="0" y="444563"/>
                  </a:lnTo>
                  <a:lnTo>
                    <a:pt x="98767" y="444563"/>
                  </a:lnTo>
                  <a:lnTo>
                    <a:pt x="98767" y="433133"/>
                  </a:lnTo>
                  <a:close/>
                </a:path>
                <a:path w="1162050" h="445134">
                  <a:moveTo>
                    <a:pt x="142532" y="263829"/>
                  </a:moveTo>
                  <a:lnTo>
                    <a:pt x="129921" y="263829"/>
                  </a:lnTo>
                  <a:lnTo>
                    <a:pt x="129921" y="444563"/>
                  </a:lnTo>
                  <a:lnTo>
                    <a:pt x="142532" y="444563"/>
                  </a:lnTo>
                  <a:lnTo>
                    <a:pt x="142532" y="263829"/>
                  </a:lnTo>
                  <a:close/>
                </a:path>
                <a:path w="1162050" h="445134">
                  <a:moveTo>
                    <a:pt x="299529" y="264223"/>
                  </a:moveTo>
                  <a:lnTo>
                    <a:pt x="169354" y="264223"/>
                  </a:lnTo>
                  <a:lnTo>
                    <a:pt x="169354" y="275653"/>
                  </a:lnTo>
                  <a:lnTo>
                    <a:pt x="228079" y="275653"/>
                  </a:lnTo>
                  <a:lnTo>
                    <a:pt x="228079" y="444563"/>
                  </a:lnTo>
                  <a:lnTo>
                    <a:pt x="240804" y="444563"/>
                  </a:lnTo>
                  <a:lnTo>
                    <a:pt x="240804" y="275653"/>
                  </a:lnTo>
                  <a:lnTo>
                    <a:pt x="299529" y="275653"/>
                  </a:lnTo>
                  <a:lnTo>
                    <a:pt x="299529" y="264223"/>
                  </a:lnTo>
                  <a:close/>
                </a:path>
                <a:path w="1162050" h="445134">
                  <a:moveTo>
                    <a:pt x="338963" y="263829"/>
                  </a:moveTo>
                  <a:lnTo>
                    <a:pt x="326351" y="263829"/>
                  </a:lnTo>
                  <a:lnTo>
                    <a:pt x="326351" y="444563"/>
                  </a:lnTo>
                  <a:lnTo>
                    <a:pt x="338963" y="444563"/>
                  </a:lnTo>
                  <a:lnTo>
                    <a:pt x="338963" y="263829"/>
                  </a:lnTo>
                  <a:close/>
                </a:path>
                <a:path w="1162050" h="445134">
                  <a:moveTo>
                    <a:pt x="1161707" y="0"/>
                  </a:moveTo>
                  <a:lnTo>
                    <a:pt x="1026172" y="0"/>
                  </a:lnTo>
                  <a:lnTo>
                    <a:pt x="1026172" y="25400"/>
                  </a:lnTo>
                  <a:lnTo>
                    <a:pt x="1079195" y="25400"/>
                  </a:lnTo>
                  <a:lnTo>
                    <a:pt x="1079195" y="180340"/>
                  </a:lnTo>
                  <a:lnTo>
                    <a:pt x="1108671" y="180340"/>
                  </a:lnTo>
                  <a:lnTo>
                    <a:pt x="1108671" y="25400"/>
                  </a:lnTo>
                  <a:lnTo>
                    <a:pt x="1161707" y="25400"/>
                  </a:lnTo>
                  <a:lnTo>
                    <a:pt x="1161707" y="0"/>
                  </a:lnTo>
                  <a:close/>
                </a:path>
              </a:pathLst>
            </a:custGeom>
            <a:solidFill>
              <a:srgbClr val="7A7C81"/>
            </a:solidFill>
          </p:spPr>
          <p:txBody>
            <a:bodyPr wrap="square" lIns="0" tIns="0" rIns="0" bIns="0" rtlCol="0"/>
            <a:lstStyle/>
            <a:p>
              <a:endParaRPr lang="en-US" sz="960" dirty="0"/>
            </a:p>
          </p:txBody>
        </p:sp>
        <p:pic>
          <p:nvPicPr>
            <p:cNvPr id="16" name="object 16">
              <a:extLst>
                <a:ext uri="{FF2B5EF4-FFF2-40B4-BE49-F238E27FC236}">
                  <a16:creationId xmlns:a16="http://schemas.microsoft.com/office/drawing/2014/main" id="{4026E343-DD61-9539-EF73-FA1148F735D5}"/>
                </a:ext>
              </a:extLst>
            </p:cNvPr>
            <p:cNvPicPr/>
            <p:nvPr/>
          </p:nvPicPr>
          <p:blipFill>
            <a:blip r:embed="rId10" cstate="print"/>
            <a:stretch>
              <a:fillRect/>
            </a:stretch>
          </p:blipFill>
          <p:spPr>
            <a:xfrm>
              <a:off x="18446220" y="11563659"/>
              <a:ext cx="147367" cy="186046"/>
            </a:xfrm>
            <a:prstGeom prst="rect">
              <a:avLst/>
            </a:prstGeom>
          </p:spPr>
        </p:pic>
        <p:pic>
          <p:nvPicPr>
            <p:cNvPr id="17" name="object 17">
              <a:extLst>
                <a:ext uri="{FF2B5EF4-FFF2-40B4-BE49-F238E27FC236}">
                  <a16:creationId xmlns:a16="http://schemas.microsoft.com/office/drawing/2014/main" id="{90EC3430-20E1-6F9D-3116-9DC93177732C}"/>
                </a:ext>
              </a:extLst>
            </p:cNvPr>
            <p:cNvPicPr/>
            <p:nvPr/>
          </p:nvPicPr>
          <p:blipFill>
            <a:blip r:embed="rId11" cstate="print"/>
            <a:stretch>
              <a:fillRect/>
            </a:stretch>
          </p:blipFill>
          <p:spPr>
            <a:xfrm>
              <a:off x="18613357" y="11565767"/>
              <a:ext cx="283342" cy="181470"/>
            </a:xfrm>
            <a:prstGeom prst="rect">
              <a:avLst/>
            </a:prstGeom>
          </p:spPr>
        </p:pic>
        <p:sp>
          <p:nvSpPr>
            <p:cNvPr id="18" name="object 18">
              <a:extLst>
                <a:ext uri="{FF2B5EF4-FFF2-40B4-BE49-F238E27FC236}">
                  <a16:creationId xmlns:a16="http://schemas.microsoft.com/office/drawing/2014/main" id="{4C422B4D-F139-169A-582B-B6745ECADD3C}"/>
                </a:ext>
              </a:extLst>
            </p:cNvPr>
            <p:cNvSpPr/>
            <p:nvPr/>
          </p:nvSpPr>
          <p:spPr>
            <a:xfrm>
              <a:off x="18923528" y="11566506"/>
              <a:ext cx="12700" cy="180975"/>
            </a:xfrm>
            <a:custGeom>
              <a:avLst/>
              <a:gdLst/>
              <a:ahLst/>
              <a:cxnLst/>
              <a:rect l="l" t="t" r="r" b="b"/>
              <a:pathLst>
                <a:path w="12700" h="180975">
                  <a:moveTo>
                    <a:pt x="12606" y="0"/>
                  </a:moveTo>
                  <a:lnTo>
                    <a:pt x="0" y="0"/>
                  </a:lnTo>
                  <a:lnTo>
                    <a:pt x="0" y="180727"/>
                  </a:lnTo>
                  <a:lnTo>
                    <a:pt x="12606" y="180727"/>
                  </a:lnTo>
                  <a:lnTo>
                    <a:pt x="12606" y="0"/>
                  </a:lnTo>
                  <a:close/>
                </a:path>
              </a:pathLst>
            </a:custGeom>
            <a:solidFill>
              <a:srgbClr val="7A7C81"/>
            </a:solidFill>
          </p:spPr>
          <p:txBody>
            <a:bodyPr wrap="square" lIns="0" tIns="0" rIns="0" bIns="0" rtlCol="0"/>
            <a:lstStyle/>
            <a:p>
              <a:endParaRPr lang="en-US" sz="960" dirty="0"/>
            </a:p>
          </p:txBody>
        </p:sp>
        <p:pic>
          <p:nvPicPr>
            <p:cNvPr id="19" name="object 19">
              <a:extLst>
                <a:ext uri="{FF2B5EF4-FFF2-40B4-BE49-F238E27FC236}">
                  <a16:creationId xmlns:a16="http://schemas.microsoft.com/office/drawing/2014/main" id="{379F05AA-0B2D-33AE-5A69-9CE2CEE7CADA}"/>
                </a:ext>
              </a:extLst>
            </p:cNvPr>
            <p:cNvPicPr/>
            <p:nvPr/>
          </p:nvPicPr>
          <p:blipFill>
            <a:blip r:embed="rId12" cstate="print"/>
            <a:stretch>
              <a:fillRect/>
            </a:stretch>
          </p:blipFill>
          <p:spPr>
            <a:xfrm>
              <a:off x="18977667" y="11563661"/>
              <a:ext cx="161576" cy="186046"/>
            </a:xfrm>
            <a:prstGeom prst="rect">
              <a:avLst/>
            </a:prstGeom>
          </p:spPr>
        </p:pic>
        <p:pic>
          <p:nvPicPr>
            <p:cNvPr id="20" name="object 20">
              <a:extLst>
                <a:ext uri="{FF2B5EF4-FFF2-40B4-BE49-F238E27FC236}">
                  <a16:creationId xmlns:a16="http://schemas.microsoft.com/office/drawing/2014/main" id="{A1716DD2-C98A-96C9-1870-A70D98B0125D}"/>
                </a:ext>
              </a:extLst>
            </p:cNvPr>
            <p:cNvPicPr/>
            <p:nvPr/>
          </p:nvPicPr>
          <p:blipFill>
            <a:blip r:embed="rId13" cstate="print"/>
            <a:stretch>
              <a:fillRect/>
            </a:stretch>
          </p:blipFill>
          <p:spPr>
            <a:xfrm>
              <a:off x="19180778" y="11566509"/>
              <a:ext cx="131409" cy="180727"/>
            </a:xfrm>
            <a:prstGeom prst="rect">
              <a:avLst/>
            </a:prstGeom>
          </p:spPr>
        </p:pic>
        <p:sp>
          <p:nvSpPr>
            <p:cNvPr id="21" name="object 21">
              <a:extLst>
                <a:ext uri="{FF2B5EF4-FFF2-40B4-BE49-F238E27FC236}">
                  <a16:creationId xmlns:a16="http://schemas.microsoft.com/office/drawing/2014/main" id="{53C01829-A83A-7823-9ED6-12AF3F31C826}"/>
                </a:ext>
              </a:extLst>
            </p:cNvPr>
            <p:cNvSpPr/>
            <p:nvPr/>
          </p:nvSpPr>
          <p:spPr>
            <a:xfrm>
              <a:off x="17305002" y="11018376"/>
              <a:ext cx="513715" cy="76200"/>
            </a:xfrm>
            <a:custGeom>
              <a:avLst/>
              <a:gdLst/>
              <a:ahLst/>
              <a:cxnLst/>
              <a:rect l="l" t="t" r="r" b="b"/>
              <a:pathLst>
                <a:path w="513715" h="76200">
                  <a:moveTo>
                    <a:pt x="513418" y="0"/>
                  </a:moveTo>
                  <a:lnTo>
                    <a:pt x="0" y="0"/>
                  </a:lnTo>
                  <a:lnTo>
                    <a:pt x="0" y="76050"/>
                  </a:lnTo>
                  <a:lnTo>
                    <a:pt x="513418" y="76050"/>
                  </a:lnTo>
                  <a:lnTo>
                    <a:pt x="513418" y="0"/>
                  </a:lnTo>
                  <a:close/>
                </a:path>
              </a:pathLst>
            </a:custGeom>
            <a:solidFill>
              <a:srgbClr val="A78A4C"/>
            </a:solidFill>
          </p:spPr>
          <p:txBody>
            <a:bodyPr wrap="square" lIns="0" tIns="0" rIns="0" bIns="0" rtlCol="0"/>
            <a:lstStyle/>
            <a:p>
              <a:endParaRPr lang="en-US" sz="960" dirty="0"/>
            </a:p>
          </p:txBody>
        </p:sp>
        <p:sp>
          <p:nvSpPr>
            <p:cNvPr id="22" name="object 22">
              <a:extLst>
                <a:ext uri="{FF2B5EF4-FFF2-40B4-BE49-F238E27FC236}">
                  <a16:creationId xmlns:a16="http://schemas.microsoft.com/office/drawing/2014/main" id="{BC08A609-F93A-6244-A2EE-86E6CF805BC8}"/>
                </a:ext>
              </a:extLst>
            </p:cNvPr>
            <p:cNvSpPr/>
            <p:nvPr/>
          </p:nvSpPr>
          <p:spPr>
            <a:xfrm>
              <a:off x="15884111" y="10541781"/>
              <a:ext cx="4220210" cy="2306320"/>
            </a:xfrm>
            <a:custGeom>
              <a:avLst/>
              <a:gdLst/>
              <a:ahLst/>
              <a:cxnLst/>
              <a:rect l="l" t="t" r="r" b="b"/>
              <a:pathLst>
                <a:path w="4220209" h="2306320">
                  <a:moveTo>
                    <a:pt x="4219988" y="815958"/>
                  </a:moveTo>
                  <a:lnTo>
                    <a:pt x="4191904" y="882755"/>
                  </a:lnTo>
                  <a:lnTo>
                    <a:pt x="4172368" y="925143"/>
                  </a:lnTo>
                  <a:lnTo>
                    <a:pt x="4151819" y="966953"/>
                  </a:lnTo>
                  <a:lnTo>
                    <a:pt x="4130274" y="1008168"/>
                  </a:lnTo>
                  <a:lnTo>
                    <a:pt x="4107749" y="1048774"/>
                  </a:lnTo>
                  <a:lnTo>
                    <a:pt x="4084260" y="1088754"/>
                  </a:lnTo>
                  <a:lnTo>
                    <a:pt x="4059821" y="1128093"/>
                  </a:lnTo>
                  <a:lnTo>
                    <a:pt x="4034449" y="1166773"/>
                  </a:lnTo>
                  <a:lnTo>
                    <a:pt x="4008160" y="1204781"/>
                  </a:lnTo>
                  <a:lnTo>
                    <a:pt x="3980969" y="1242098"/>
                  </a:lnTo>
                  <a:lnTo>
                    <a:pt x="3952893" y="1278711"/>
                  </a:lnTo>
                  <a:lnTo>
                    <a:pt x="3923946" y="1314603"/>
                  </a:lnTo>
                  <a:lnTo>
                    <a:pt x="3894144" y="1349757"/>
                  </a:lnTo>
                  <a:lnTo>
                    <a:pt x="3863505" y="1384159"/>
                  </a:lnTo>
                  <a:lnTo>
                    <a:pt x="3832042" y="1417791"/>
                  </a:lnTo>
                  <a:lnTo>
                    <a:pt x="3799772" y="1450639"/>
                  </a:lnTo>
                  <a:lnTo>
                    <a:pt x="3766711" y="1482687"/>
                  </a:lnTo>
                  <a:lnTo>
                    <a:pt x="3732874" y="1513918"/>
                  </a:lnTo>
                  <a:lnTo>
                    <a:pt x="3698277" y="1544317"/>
                  </a:lnTo>
                  <a:lnTo>
                    <a:pt x="3662937" y="1573867"/>
                  </a:lnTo>
                  <a:lnTo>
                    <a:pt x="3626868" y="1602554"/>
                  </a:lnTo>
                  <a:lnTo>
                    <a:pt x="3590086" y="1630360"/>
                  </a:lnTo>
                  <a:lnTo>
                    <a:pt x="3552607" y="1657271"/>
                  </a:lnTo>
                  <a:lnTo>
                    <a:pt x="3514448" y="1683270"/>
                  </a:lnTo>
                  <a:lnTo>
                    <a:pt x="3475623" y="1708341"/>
                  </a:lnTo>
                  <a:lnTo>
                    <a:pt x="3436148" y="1732468"/>
                  </a:lnTo>
                  <a:lnTo>
                    <a:pt x="3396040" y="1755637"/>
                  </a:lnTo>
                  <a:lnTo>
                    <a:pt x="3355314" y="1777830"/>
                  </a:lnTo>
                  <a:lnTo>
                    <a:pt x="3313985" y="1799031"/>
                  </a:lnTo>
                  <a:lnTo>
                    <a:pt x="3272070" y="1819226"/>
                  </a:lnTo>
                  <a:lnTo>
                    <a:pt x="3229584" y="1838398"/>
                  </a:lnTo>
                  <a:lnTo>
                    <a:pt x="3186543" y="1856530"/>
                  </a:lnTo>
                  <a:lnTo>
                    <a:pt x="3142962" y="1873609"/>
                  </a:lnTo>
                  <a:lnTo>
                    <a:pt x="3098858" y="1889616"/>
                  </a:lnTo>
                  <a:lnTo>
                    <a:pt x="3054247" y="1904537"/>
                  </a:lnTo>
                  <a:lnTo>
                    <a:pt x="3009143" y="1918356"/>
                  </a:lnTo>
                  <a:lnTo>
                    <a:pt x="2963563" y="1931056"/>
                  </a:lnTo>
                  <a:lnTo>
                    <a:pt x="2917522" y="1942622"/>
                  </a:lnTo>
                  <a:lnTo>
                    <a:pt x="2871037" y="1953038"/>
                  </a:lnTo>
                  <a:lnTo>
                    <a:pt x="2824123" y="1962288"/>
                  </a:lnTo>
                  <a:lnTo>
                    <a:pt x="2776795" y="1970357"/>
                  </a:lnTo>
                  <a:lnTo>
                    <a:pt x="2729070" y="1977227"/>
                  </a:lnTo>
                  <a:lnTo>
                    <a:pt x="2680963" y="1982885"/>
                  </a:lnTo>
                  <a:lnTo>
                    <a:pt x="2632491" y="1987312"/>
                  </a:lnTo>
                  <a:lnTo>
                    <a:pt x="2583668" y="1990494"/>
                  </a:lnTo>
                  <a:lnTo>
                    <a:pt x="2534510" y="1992415"/>
                  </a:lnTo>
                  <a:lnTo>
                    <a:pt x="2485034" y="1993059"/>
                  </a:lnTo>
                  <a:lnTo>
                    <a:pt x="2436764" y="1992447"/>
                  </a:lnTo>
                  <a:lnTo>
                    <a:pt x="2388796" y="1990619"/>
                  </a:lnTo>
                  <a:lnTo>
                    <a:pt x="2341143" y="1987591"/>
                  </a:lnTo>
                  <a:lnTo>
                    <a:pt x="2293821" y="1983377"/>
                  </a:lnTo>
                  <a:lnTo>
                    <a:pt x="2246844" y="1977992"/>
                  </a:lnTo>
                  <a:lnTo>
                    <a:pt x="2200227" y="1971450"/>
                  </a:lnTo>
                  <a:lnTo>
                    <a:pt x="2153985" y="1963767"/>
                  </a:lnTo>
                  <a:lnTo>
                    <a:pt x="2108132" y="1954958"/>
                  </a:lnTo>
                  <a:lnTo>
                    <a:pt x="2062683" y="1945036"/>
                  </a:lnTo>
                  <a:lnTo>
                    <a:pt x="2017652" y="1934016"/>
                  </a:lnTo>
                  <a:lnTo>
                    <a:pt x="1973055" y="1921914"/>
                  </a:lnTo>
                  <a:lnTo>
                    <a:pt x="1928906" y="1908745"/>
                  </a:lnTo>
                  <a:lnTo>
                    <a:pt x="1885220" y="1894521"/>
                  </a:lnTo>
                  <a:lnTo>
                    <a:pt x="1842011" y="1879260"/>
                  </a:lnTo>
                  <a:lnTo>
                    <a:pt x="1799294" y="1862975"/>
                  </a:lnTo>
                  <a:lnTo>
                    <a:pt x="1757084" y="1845680"/>
                  </a:lnTo>
                  <a:lnTo>
                    <a:pt x="1715395" y="1827392"/>
                  </a:lnTo>
                  <a:lnTo>
                    <a:pt x="1674242" y="1808123"/>
                  </a:lnTo>
                  <a:lnTo>
                    <a:pt x="1633641" y="1787890"/>
                  </a:lnTo>
                  <a:lnTo>
                    <a:pt x="1593605" y="1766707"/>
                  </a:lnTo>
                  <a:lnTo>
                    <a:pt x="1554149" y="1744589"/>
                  </a:lnTo>
                  <a:lnTo>
                    <a:pt x="1515288" y="1721550"/>
                  </a:lnTo>
                  <a:lnTo>
                    <a:pt x="1477037" y="1697605"/>
                  </a:lnTo>
                  <a:lnTo>
                    <a:pt x="1439410" y="1672769"/>
                  </a:lnTo>
                  <a:lnTo>
                    <a:pt x="1402422" y="1647056"/>
                  </a:lnTo>
                  <a:lnTo>
                    <a:pt x="1366087" y="1620482"/>
                  </a:lnTo>
                  <a:lnTo>
                    <a:pt x="1330421" y="1593060"/>
                  </a:lnTo>
                  <a:lnTo>
                    <a:pt x="1295438" y="1564807"/>
                  </a:lnTo>
                  <a:lnTo>
                    <a:pt x="1261153" y="1535736"/>
                  </a:lnTo>
                  <a:lnTo>
                    <a:pt x="1227580" y="1505862"/>
                  </a:lnTo>
                  <a:lnTo>
                    <a:pt x="1194734" y="1475200"/>
                  </a:lnTo>
                  <a:lnTo>
                    <a:pt x="1162630" y="1443764"/>
                  </a:lnTo>
                  <a:lnTo>
                    <a:pt x="1131283" y="1411570"/>
                  </a:lnTo>
                  <a:lnTo>
                    <a:pt x="1100707" y="1378633"/>
                  </a:lnTo>
                  <a:lnTo>
                    <a:pt x="1070916" y="1344966"/>
                  </a:lnTo>
                  <a:lnTo>
                    <a:pt x="1041926" y="1310584"/>
                  </a:lnTo>
                  <a:lnTo>
                    <a:pt x="1013752" y="1275503"/>
                  </a:lnTo>
                  <a:lnTo>
                    <a:pt x="986407" y="1239737"/>
                  </a:lnTo>
                  <a:lnTo>
                    <a:pt x="959907" y="1203301"/>
                  </a:lnTo>
                  <a:lnTo>
                    <a:pt x="934266" y="1166209"/>
                  </a:lnTo>
                  <a:lnTo>
                    <a:pt x="909500" y="1128476"/>
                  </a:lnTo>
                  <a:lnTo>
                    <a:pt x="885621" y="1090118"/>
                  </a:lnTo>
                  <a:lnTo>
                    <a:pt x="862647" y="1051148"/>
                  </a:lnTo>
                  <a:lnTo>
                    <a:pt x="840590" y="1011581"/>
                  </a:lnTo>
                  <a:lnTo>
                    <a:pt x="819466" y="971433"/>
                  </a:lnTo>
                  <a:lnTo>
                    <a:pt x="799290" y="930717"/>
                  </a:lnTo>
                  <a:lnTo>
                    <a:pt x="780076" y="889449"/>
                  </a:lnTo>
                  <a:lnTo>
                    <a:pt x="761838" y="847644"/>
                  </a:lnTo>
                  <a:lnTo>
                    <a:pt x="744592" y="805315"/>
                  </a:lnTo>
                  <a:lnTo>
                    <a:pt x="728352" y="762479"/>
                  </a:lnTo>
                  <a:lnTo>
                    <a:pt x="713133" y="719148"/>
                  </a:lnTo>
                  <a:lnTo>
                    <a:pt x="698950" y="675339"/>
                  </a:lnTo>
                  <a:lnTo>
                    <a:pt x="685817" y="631066"/>
                  </a:lnTo>
                  <a:lnTo>
                    <a:pt x="673749" y="586344"/>
                  </a:lnTo>
                  <a:lnTo>
                    <a:pt x="662760" y="541187"/>
                  </a:lnTo>
                  <a:lnTo>
                    <a:pt x="652866" y="495610"/>
                  </a:lnTo>
                  <a:lnTo>
                    <a:pt x="644081" y="449629"/>
                  </a:lnTo>
                  <a:lnTo>
                    <a:pt x="636419" y="403256"/>
                  </a:lnTo>
                  <a:lnTo>
                    <a:pt x="629896" y="356509"/>
                  </a:lnTo>
                  <a:lnTo>
                    <a:pt x="624526" y="309400"/>
                  </a:lnTo>
                  <a:lnTo>
                    <a:pt x="620324" y="261945"/>
                  </a:lnTo>
                  <a:lnTo>
                    <a:pt x="617304" y="214159"/>
                  </a:lnTo>
                  <a:lnTo>
                    <a:pt x="615482" y="166055"/>
                  </a:lnTo>
                  <a:lnTo>
                    <a:pt x="614871" y="117650"/>
                  </a:lnTo>
                  <a:lnTo>
                    <a:pt x="615459" y="88007"/>
                  </a:lnTo>
                  <a:lnTo>
                    <a:pt x="616934" y="58593"/>
                  </a:lnTo>
                  <a:lnTo>
                    <a:pt x="618864" y="29295"/>
                  </a:lnTo>
                  <a:lnTo>
                    <a:pt x="620818" y="0"/>
                  </a:lnTo>
                  <a:lnTo>
                    <a:pt x="0" y="0"/>
                  </a:lnTo>
                  <a:lnTo>
                    <a:pt x="0" y="112425"/>
                  </a:lnTo>
                  <a:lnTo>
                    <a:pt x="462" y="160786"/>
                  </a:lnTo>
                  <a:lnTo>
                    <a:pt x="1844" y="208927"/>
                  </a:lnTo>
                  <a:lnTo>
                    <a:pt x="4137" y="256837"/>
                  </a:lnTo>
                  <a:lnTo>
                    <a:pt x="7333" y="304511"/>
                  </a:lnTo>
                  <a:lnTo>
                    <a:pt x="11422" y="351938"/>
                  </a:lnTo>
                  <a:lnTo>
                    <a:pt x="16398" y="399110"/>
                  </a:lnTo>
                  <a:lnTo>
                    <a:pt x="22251" y="446020"/>
                  </a:lnTo>
                  <a:lnTo>
                    <a:pt x="28973" y="492658"/>
                  </a:lnTo>
                  <a:lnTo>
                    <a:pt x="36555" y="539017"/>
                  </a:lnTo>
                  <a:lnTo>
                    <a:pt x="44990" y="585087"/>
                  </a:lnTo>
                  <a:lnTo>
                    <a:pt x="54268" y="630861"/>
                  </a:lnTo>
                  <a:lnTo>
                    <a:pt x="64382" y="676330"/>
                  </a:lnTo>
                  <a:lnTo>
                    <a:pt x="75322" y="721485"/>
                  </a:lnTo>
                  <a:lnTo>
                    <a:pt x="87081" y="766318"/>
                  </a:lnTo>
                  <a:lnTo>
                    <a:pt x="99650" y="810822"/>
                  </a:lnTo>
                  <a:lnTo>
                    <a:pt x="113021" y="854986"/>
                  </a:lnTo>
                  <a:lnTo>
                    <a:pt x="127185" y="898803"/>
                  </a:lnTo>
                  <a:lnTo>
                    <a:pt x="142133" y="942265"/>
                  </a:lnTo>
                  <a:lnTo>
                    <a:pt x="157858" y="985363"/>
                  </a:lnTo>
                  <a:lnTo>
                    <a:pt x="174351" y="1028088"/>
                  </a:lnTo>
                  <a:lnTo>
                    <a:pt x="191604" y="1070433"/>
                  </a:lnTo>
                  <a:lnTo>
                    <a:pt x="209607" y="1112388"/>
                  </a:lnTo>
                  <a:lnTo>
                    <a:pt x="228354" y="1153946"/>
                  </a:lnTo>
                  <a:lnTo>
                    <a:pt x="247835" y="1195098"/>
                  </a:lnTo>
                  <a:lnTo>
                    <a:pt x="268041" y="1235835"/>
                  </a:lnTo>
                  <a:lnTo>
                    <a:pt x="288965" y="1276149"/>
                  </a:lnTo>
                  <a:lnTo>
                    <a:pt x="310599" y="1316032"/>
                  </a:lnTo>
                  <a:lnTo>
                    <a:pt x="332932" y="1355475"/>
                  </a:lnTo>
                  <a:lnTo>
                    <a:pt x="355959" y="1394471"/>
                  </a:lnTo>
                  <a:lnTo>
                    <a:pt x="379668" y="1433009"/>
                  </a:lnTo>
                  <a:lnTo>
                    <a:pt x="404054" y="1471083"/>
                  </a:lnTo>
                  <a:lnTo>
                    <a:pt x="429106" y="1508683"/>
                  </a:lnTo>
                  <a:lnTo>
                    <a:pt x="454817" y="1545801"/>
                  </a:lnTo>
                  <a:lnTo>
                    <a:pt x="481178" y="1582429"/>
                  </a:lnTo>
                  <a:lnTo>
                    <a:pt x="508181" y="1618559"/>
                  </a:lnTo>
                  <a:lnTo>
                    <a:pt x="535817" y="1654181"/>
                  </a:lnTo>
                  <a:lnTo>
                    <a:pt x="564078" y="1689288"/>
                  </a:lnTo>
                  <a:lnTo>
                    <a:pt x="592956" y="1723871"/>
                  </a:lnTo>
                  <a:lnTo>
                    <a:pt x="622441" y="1757922"/>
                  </a:lnTo>
                  <a:lnTo>
                    <a:pt x="652527" y="1791432"/>
                  </a:lnTo>
                  <a:lnTo>
                    <a:pt x="683203" y="1824392"/>
                  </a:lnTo>
                  <a:lnTo>
                    <a:pt x="714463" y="1856796"/>
                  </a:lnTo>
                  <a:lnTo>
                    <a:pt x="746297" y="1888633"/>
                  </a:lnTo>
                  <a:lnTo>
                    <a:pt x="778697" y="1919895"/>
                  </a:lnTo>
                  <a:lnTo>
                    <a:pt x="811654" y="1950575"/>
                  </a:lnTo>
                  <a:lnTo>
                    <a:pt x="845161" y="1980664"/>
                  </a:lnTo>
                  <a:lnTo>
                    <a:pt x="879208" y="2010153"/>
                  </a:lnTo>
                  <a:lnTo>
                    <a:pt x="913788" y="2039033"/>
                  </a:lnTo>
                  <a:lnTo>
                    <a:pt x="948892" y="2067298"/>
                  </a:lnTo>
                  <a:lnTo>
                    <a:pt x="984511" y="2094937"/>
                  </a:lnTo>
                  <a:lnTo>
                    <a:pt x="1020637" y="2121943"/>
                  </a:lnTo>
                  <a:lnTo>
                    <a:pt x="1057262" y="2148307"/>
                  </a:lnTo>
                  <a:lnTo>
                    <a:pt x="1094378" y="2174021"/>
                  </a:lnTo>
                  <a:lnTo>
                    <a:pt x="1131975" y="2199077"/>
                  </a:lnTo>
                  <a:lnTo>
                    <a:pt x="1170046" y="2223465"/>
                  </a:lnTo>
                  <a:lnTo>
                    <a:pt x="1208582" y="2247178"/>
                  </a:lnTo>
                  <a:lnTo>
                    <a:pt x="1247574" y="2270207"/>
                  </a:lnTo>
                  <a:lnTo>
                    <a:pt x="1287014" y="2292544"/>
                  </a:lnTo>
                  <a:lnTo>
                    <a:pt x="1311807" y="2305994"/>
                  </a:lnTo>
                </a:path>
                <a:path w="4220209" h="2306320">
                  <a:moveTo>
                    <a:pt x="3669507" y="2305994"/>
                  </a:moveTo>
                  <a:lnTo>
                    <a:pt x="3733746" y="2270207"/>
                  </a:lnTo>
                  <a:lnTo>
                    <a:pt x="3772742" y="2247178"/>
                  </a:lnTo>
                  <a:lnTo>
                    <a:pt x="3811281" y="2223465"/>
                  </a:lnTo>
                  <a:lnTo>
                    <a:pt x="3849355" y="2199077"/>
                  </a:lnTo>
                  <a:lnTo>
                    <a:pt x="3886955" y="2174021"/>
                  </a:lnTo>
                  <a:lnTo>
                    <a:pt x="3924074" y="2148307"/>
                  </a:lnTo>
                  <a:lnTo>
                    <a:pt x="3960702" y="2121943"/>
                  </a:lnTo>
                  <a:lnTo>
                    <a:pt x="3996831" y="2094937"/>
                  </a:lnTo>
                  <a:lnTo>
                    <a:pt x="4032453" y="2067298"/>
                  </a:lnTo>
                  <a:lnTo>
                    <a:pt x="4067559" y="2039033"/>
                  </a:lnTo>
                  <a:lnTo>
                    <a:pt x="4102141" y="2010153"/>
                  </a:lnTo>
                  <a:lnTo>
                    <a:pt x="4136191" y="1980664"/>
                  </a:lnTo>
                  <a:lnTo>
                    <a:pt x="4169700" y="1950575"/>
                  </a:lnTo>
                  <a:lnTo>
                    <a:pt x="4202660" y="1919895"/>
                  </a:lnTo>
                  <a:lnTo>
                    <a:pt x="4219988" y="1903176"/>
                  </a:lnTo>
                </a:path>
              </a:pathLst>
            </a:custGeom>
            <a:ln w="31412">
              <a:solidFill>
                <a:srgbClr val="A78A4C"/>
              </a:solidFill>
            </a:ln>
          </p:spPr>
          <p:txBody>
            <a:bodyPr wrap="square" lIns="0" tIns="0" rIns="0" bIns="0" rtlCol="0"/>
            <a:lstStyle/>
            <a:p>
              <a:endParaRPr lang="en-US" sz="960" dirty="0"/>
            </a:p>
          </p:txBody>
        </p:sp>
      </p:grpSp>
      <p:sp>
        <p:nvSpPr>
          <p:cNvPr id="23" name="object 23">
            <a:extLst>
              <a:ext uri="{FF2B5EF4-FFF2-40B4-BE49-F238E27FC236}">
                <a16:creationId xmlns:a16="http://schemas.microsoft.com/office/drawing/2014/main" id="{E603A8EF-70B1-55AD-2667-4C8D391D101D}"/>
              </a:ext>
            </a:extLst>
          </p:cNvPr>
          <p:cNvSpPr/>
          <p:nvPr/>
        </p:nvSpPr>
        <p:spPr>
          <a:xfrm>
            <a:off x="997639" y="0"/>
            <a:ext cx="336462" cy="2357268"/>
          </a:xfrm>
          <a:custGeom>
            <a:avLst/>
            <a:gdLst/>
            <a:ahLst/>
            <a:cxnLst/>
            <a:rect l="l" t="t" r="r" b="b"/>
            <a:pathLst>
              <a:path w="630555" h="4417695">
                <a:moveTo>
                  <a:pt x="630242" y="4083639"/>
                </a:moveTo>
                <a:lnTo>
                  <a:pt x="630242" y="4073744"/>
                </a:lnTo>
                <a:lnTo>
                  <a:pt x="630106" y="4073859"/>
                </a:lnTo>
                <a:lnTo>
                  <a:pt x="629855" y="4074090"/>
                </a:lnTo>
                <a:lnTo>
                  <a:pt x="629855" y="0"/>
                </a:lnTo>
              </a:path>
              <a:path w="630555" h="4417695">
                <a:moveTo>
                  <a:pt x="2434" y="0"/>
                </a:moveTo>
                <a:lnTo>
                  <a:pt x="0" y="2699357"/>
                </a:lnTo>
                <a:lnTo>
                  <a:pt x="0" y="4417388"/>
                </a:lnTo>
                <a:lnTo>
                  <a:pt x="49735" y="4401593"/>
                </a:lnTo>
                <a:lnTo>
                  <a:pt x="98845" y="4384492"/>
                </a:lnTo>
                <a:lnTo>
                  <a:pt x="147304" y="4366102"/>
                </a:lnTo>
                <a:lnTo>
                  <a:pt x="195086" y="4346440"/>
                </a:lnTo>
                <a:lnTo>
                  <a:pt x="242168" y="4325523"/>
                </a:lnTo>
                <a:lnTo>
                  <a:pt x="288524" y="4303369"/>
                </a:lnTo>
                <a:lnTo>
                  <a:pt x="334129" y="4279994"/>
                </a:lnTo>
                <a:lnTo>
                  <a:pt x="378959" y="4255416"/>
                </a:lnTo>
                <a:lnTo>
                  <a:pt x="422987" y="4229652"/>
                </a:lnTo>
                <a:lnTo>
                  <a:pt x="466190" y="4202719"/>
                </a:lnTo>
                <a:lnTo>
                  <a:pt x="508541" y="4174634"/>
                </a:lnTo>
                <a:lnTo>
                  <a:pt x="550017" y="4145414"/>
                </a:lnTo>
                <a:lnTo>
                  <a:pt x="590593" y="4115077"/>
                </a:lnTo>
                <a:lnTo>
                  <a:pt x="630242" y="4083639"/>
                </a:lnTo>
              </a:path>
            </a:pathLst>
          </a:custGeom>
          <a:ln w="31412">
            <a:solidFill>
              <a:srgbClr val="A78A4C"/>
            </a:solidFill>
          </a:ln>
        </p:spPr>
        <p:txBody>
          <a:bodyPr wrap="square" lIns="0" tIns="0" rIns="0" bIns="0" rtlCol="0"/>
          <a:lstStyle/>
          <a:p>
            <a:endParaRPr lang="en-US" sz="960" dirty="0"/>
          </a:p>
        </p:txBody>
      </p:sp>
      <p:sp>
        <p:nvSpPr>
          <p:cNvPr id="24" name="object 24">
            <a:extLst>
              <a:ext uri="{FF2B5EF4-FFF2-40B4-BE49-F238E27FC236}">
                <a16:creationId xmlns:a16="http://schemas.microsoft.com/office/drawing/2014/main" id="{69D249CD-F805-D778-5FFA-29D263AF2379}"/>
              </a:ext>
            </a:extLst>
          </p:cNvPr>
          <p:cNvSpPr/>
          <p:nvPr/>
        </p:nvSpPr>
        <p:spPr>
          <a:xfrm>
            <a:off x="9164251" y="239452"/>
            <a:ext cx="2295600" cy="361536"/>
          </a:xfrm>
          <a:custGeom>
            <a:avLst/>
            <a:gdLst/>
            <a:ahLst/>
            <a:cxnLst/>
            <a:rect l="l" t="t" r="r" b="b"/>
            <a:pathLst>
              <a:path w="4302125" h="677544">
                <a:moveTo>
                  <a:pt x="4301921" y="0"/>
                </a:moveTo>
                <a:lnTo>
                  <a:pt x="0" y="0"/>
                </a:lnTo>
                <a:lnTo>
                  <a:pt x="0" y="677036"/>
                </a:lnTo>
                <a:lnTo>
                  <a:pt x="4301921" y="677036"/>
                </a:lnTo>
              </a:path>
            </a:pathLst>
          </a:custGeom>
          <a:ln w="31412">
            <a:solidFill>
              <a:srgbClr val="A78A4C"/>
            </a:solidFill>
          </a:ln>
        </p:spPr>
        <p:txBody>
          <a:bodyPr wrap="square" lIns="0" tIns="0" rIns="0" bIns="0" rtlCol="0"/>
          <a:lstStyle/>
          <a:p>
            <a:endParaRPr lang="en-US" sz="960" dirty="0"/>
          </a:p>
        </p:txBody>
      </p:sp>
      <p:sp>
        <p:nvSpPr>
          <p:cNvPr id="31" name="object 25">
            <a:extLst>
              <a:ext uri="{FF2B5EF4-FFF2-40B4-BE49-F238E27FC236}">
                <a16:creationId xmlns:a16="http://schemas.microsoft.com/office/drawing/2014/main" id="{A726B4E2-ECEB-4E51-D8FC-0D1CE322C60A}"/>
              </a:ext>
            </a:extLst>
          </p:cNvPr>
          <p:cNvSpPr txBox="1">
            <a:spLocks/>
          </p:cNvSpPr>
          <p:nvPr/>
        </p:nvSpPr>
        <p:spPr>
          <a:xfrm>
            <a:off x="1591942" y="778840"/>
            <a:ext cx="7268943" cy="852886"/>
          </a:xfrm>
          <a:prstGeom prst="rect">
            <a:avLst/>
          </a:prstGeom>
        </p:spPr>
        <p:txBody>
          <a:bodyPr vert="horz" wrap="square" lIns="0" tIns="6438" rIns="0" bIns="0" rtlCol="0">
            <a:spAutoFit/>
          </a:bodyPr>
          <a:lstStyle>
            <a:lvl1pPr>
              <a:defRPr sz="8250" b="0" i="0">
                <a:solidFill>
                  <a:srgbClr val="7A7C81"/>
                </a:solidFill>
                <a:latin typeface="Arial"/>
                <a:ea typeface="+mj-ea"/>
                <a:cs typeface="Arial"/>
              </a:defRPr>
            </a:lvl1pPr>
          </a:lstStyle>
          <a:p>
            <a:pPr marL="6777">
              <a:lnSpc>
                <a:spcPts val="4117"/>
              </a:lnSpc>
              <a:spcBef>
                <a:spcPts val="51"/>
              </a:spcBef>
            </a:pPr>
            <a:r>
              <a:rPr lang="en-US" sz="3522"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Behavioral Survey</a:t>
            </a:r>
            <a:endParaRPr lang="en-US" sz="3522"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34222">
              <a:lnSpc>
                <a:spcPts val="2516"/>
              </a:lnSpc>
            </a:pPr>
            <a:r>
              <a:rPr lang="en-US" sz="2188" kern="0" dirty="0">
                <a:latin typeface="Open Sans" panose="020B0606030504020204" pitchFamily="34" charset="0"/>
                <a:ea typeface="Open Sans" panose="020B0606030504020204" pitchFamily="34" charset="0"/>
                <a:cs typeface="Open Sans" panose="020B0606030504020204" pitchFamily="34" charset="0"/>
              </a:rPr>
              <a:t>among notaries in </a:t>
            </a:r>
            <a:r>
              <a:rPr lang="en-US" sz="2188" kern="0" dirty="0" err="1">
                <a:latin typeface="Open Sans" panose="020B0606030504020204" pitchFamily="34" charset="0"/>
                <a:ea typeface="Open Sans" panose="020B0606030504020204" pitchFamily="34" charset="0"/>
                <a:cs typeface="Open Sans" panose="020B0606030504020204" pitchFamily="34" charset="0"/>
              </a:rPr>
              <a:t>JuWiLi</a:t>
            </a:r>
            <a:r>
              <a:rPr lang="en-US" sz="2188" kern="0" dirty="0">
                <a:latin typeface="Open Sans" panose="020B0606030504020204" pitchFamily="34" charset="0"/>
                <a:ea typeface="Open Sans" panose="020B0606030504020204" pitchFamily="34" charset="0"/>
                <a:cs typeface="Open Sans" panose="020B0606030504020204" pitchFamily="34" charset="0"/>
              </a:rPr>
              <a:t> II member states</a:t>
            </a:r>
          </a:p>
        </p:txBody>
      </p:sp>
      <p:sp>
        <p:nvSpPr>
          <p:cNvPr id="56" name="object 27">
            <a:extLst>
              <a:ext uri="{FF2B5EF4-FFF2-40B4-BE49-F238E27FC236}">
                <a16:creationId xmlns:a16="http://schemas.microsoft.com/office/drawing/2014/main" id="{01837C46-55C8-A375-0C52-957C0FD6545D}"/>
              </a:ext>
            </a:extLst>
          </p:cNvPr>
          <p:cNvSpPr txBox="1"/>
          <p:nvPr/>
        </p:nvSpPr>
        <p:spPr>
          <a:xfrm>
            <a:off x="5595782" y="6467743"/>
            <a:ext cx="1000436" cy="124951"/>
          </a:xfrm>
          <a:prstGeom prst="rect">
            <a:avLst/>
          </a:prstGeom>
        </p:spPr>
        <p:txBody>
          <a:bodyPr vert="horz" wrap="square" lIns="0" tIns="5760" rIns="0" bIns="0" rtlCol="0">
            <a:spAutoFit/>
          </a:bodyPr>
          <a:lstStyle/>
          <a:p>
            <a:pPr marL="6777" algn="ctr">
              <a:spcBef>
                <a:spcPts val="45"/>
              </a:spcBef>
            </a:pPr>
            <a:r>
              <a:rPr lang="en-US" sz="774" spc="8" dirty="0">
                <a:solidFill>
                  <a:srgbClr val="A78A4C"/>
                </a:solidFill>
                <a:latin typeface="HelveticaNeue-Light"/>
                <a:cs typeface="HelveticaNeue-Light"/>
              </a:rPr>
              <a:t>11 July 2025</a:t>
            </a:r>
            <a:endParaRPr lang="en-US" sz="774" dirty="0">
              <a:latin typeface="HelveticaNeue-Light"/>
              <a:cs typeface="HelveticaNeue-Light"/>
            </a:endParaRPr>
          </a:p>
        </p:txBody>
      </p:sp>
      <p:sp>
        <p:nvSpPr>
          <p:cNvPr id="58" name="object 26">
            <a:extLst>
              <a:ext uri="{FF2B5EF4-FFF2-40B4-BE49-F238E27FC236}">
                <a16:creationId xmlns:a16="http://schemas.microsoft.com/office/drawing/2014/main" id="{96EE9831-ED3F-E105-23B9-6AE037C69134}"/>
              </a:ext>
            </a:extLst>
          </p:cNvPr>
          <p:cNvSpPr txBox="1">
            <a:spLocks/>
          </p:cNvSpPr>
          <p:nvPr/>
        </p:nvSpPr>
        <p:spPr>
          <a:xfrm>
            <a:off x="1633821" y="6460142"/>
            <a:ext cx="159591" cy="124951"/>
          </a:xfrm>
          <a:prstGeom prst="rect">
            <a:avLst/>
          </a:prstGeom>
        </p:spPr>
        <p:txBody>
          <a:bodyPr vert="horz" wrap="square" lIns="0" tIns="5760" rIns="0" bIns="0" rtlCol="0">
            <a:spAutoFit/>
          </a:bodyPr>
          <a:lstStyle>
            <a:defPPr>
              <a:defRPr lang="de-DE"/>
            </a:defPPr>
            <a:lvl1pPr marL="0" algn="l" defTabSz="914400" rtl="0" eaLnBrk="1" latinLnBrk="0" hangingPunct="1">
              <a:defRPr sz="1450" b="0" i="0" kern="1200">
                <a:solidFill>
                  <a:srgbClr val="A78A4C"/>
                </a:solidFill>
                <a:latin typeface="HelveticaNeue-Light"/>
                <a:ea typeface="+mn-ea"/>
                <a:cs typeface="HelveticaNeue-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30">
              <a:spcBef>
                <a:spcPts val="45"/>
              </a:spcBef>
            </a:pPr>
            <a:fld id="{81D60167-4931-47E6-BA6A-407CBD079E47}" type="slidenum">
              <a:rPr lang="en-US" sz="774" spc="8"/>
              <a:pPr marL="20330">
                <a:spcBef>
                  <a:spcPts val="45"/>
                </a:spcBef>
              </a:pPr>
              <a:t>5</a:t>
            </a:fld>
            <a:endParaRPr lang="en-US" sz="774" spc="8" dirty="0"/>
          </a:p>
        </p:txBody>
      </p:sp>
      <p:sp>
        <p:nvSpPr>
          <p:cNvPr id="2" name="Rectangle: Rounded Corners 1">
            <a:extLst>
              <a:ext uri="{FF2B5EF4-FFF2-40B4-BE49-F238E27FC236}">
                <a16:creationId xmlns:a16="http://schemas.microsoft.com/office/drawing/2014/main" id="{8AA6C459-121F-F287-BC43-7D93160F336D}"/>
              </a:ext>
            </a:extLst>
          </p:cNvPr>
          <p:cNvSpPr>
            <a:spLocks/>
          </p:cNvSpPr>
          <p:nvPr/>
        </p:nvSpPr>
        <p:spPr>
          <a:xfrm>
            <a:off x="2192632" y="1894957"/>
            <a:ext cx="3618748" cy="1748383"/>
          </a:xfrm>
          <a:prstGeom prst="roundRect">
            <a:avLst>
              <a:gd name="adj" fmla="val 11010"/>
            </a:avLst>
          </a:prstGeom>
          <a:solidFill>
            <a:srgbClr val="A78A4C"/>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320"/>
              </a:spcAft>
            </a:pPr>
            <a:r>
              <a:rPr lang="en-US" sz="1708" b="1" u="sng" dirty="0"/>
              <a:t>Perceptions</a:t>
            </a:r>
          </a:p>
          <a:p>
            <a:pPr marL="304952" indent="-304952">
              <a:spcAft>
                <a:spcPts val="320"/>
              </a:spcAft>
              <a:buFont typeface="Arial" panose="020B0604020202020204" pitchFamily="34" charset="0"/>
              <a:buChar char="•"/>
            </a:pPr>
            <a:r>
              <a:rPr lang="en-US" sz="1494" dirty="0"/>
              <a:t>Trustworthiness</a:t>
            </a:r>
          </a:p>
          <a:p>
            <a:pPr marL="304952" indent="-304952">
              <a:spcAft>
                <a:spcPts val="320"/>
              </a:spcAft>
              <a:buFont typeface="Arial" panose="020B0604020202020204" pitchFamily="34" charset="0"/>
              <a:buChar char="•"/>
            </a:pPr>
            <a:r>
              <a:rPr lang="en-US" sz="1494" dirty="0"/>
              <a:t>Reliability</a:t>
            </a:r>
          </a:p>
          <a:p>
            <a:pPr marL="304952" indent="-304952">
              <a:spcAft>
                <a:spcPts val="320"/>
              </a:spcAft>
              <a:buFont typeface="Arial" panose="020B0604020202020204" pitchFamily="34" charset="0"/>
              <a:buChar char="•"/>
            </a:pPr>
            <a:r>
              <a:rPr lang="en-US" sz="1494" dirty="0"/>
              <a:t>Punctuality</a:t>
            </a:r>
          </a:p>
        </p:txBody>
      </p:sp>
      <p:sp>
        <p:nvSpPr>
          <p:cNvPr id="25" name="Rectangle: Rounded Corners 24">
            <a:extLst>
              <a:ext uri="{FF2B5EF4-FFF2-40B4-BE49-F238E27FC236}">
                <a16:creationId xmlns:a16="http://schemas.microsoft.com/office/drawing/2014/main" id="{0D3E0D86-7584-F63D-2801-67BC9A353CB0}"/>
              </a:ext>
            </a:extLst>
          </p:cNvPr>
          <p:cNvSpPr>
            <a:spLocks/>
          </p:cNvSpPr>
          <p:nvPr/>
        </p:nvSpPr>
        <p:spPr>
          <a:xfrm>
            <a:off x="6136660" y="3874847"/>
            <a:ext cx="3618748" cy="1748383"/>
          </a:xfrm>
          <a:prstGeom prst="roundRect">
            <a:avLst>
              <a:gd name="adj" fmla="val 11764"/>
            </a:avLst>
          </a:prstGeom>
          <a:solidFill>
            <a:schemeClr val="accent2">
              <a:lumMod val="5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320"/>
              </a:spcAft>
            </a:pPr>
            <a:r>
              <a:rPr lang="en-US" sz="1708" b="1" u="sng" dirty="0"/>
              <a:t>Other factors</a:t>
            </a:r>
          </a:p>
          <a:p>
            <a:pPr marL="304952" indent="-304952">
              <a:spcAft>
                <a:spcPts val="320"/>
              </a:spcAft>
              <a:buFont typeface="Arial" panose="020B0604020202020204" pitchFamily="34" charset="0"/>
              <a:buChar char="•"/>
            </a:pPr>
            <a:r>
              <a:rPr lang="en-US" sz="1494" dirty="0"/>
              <a:t>Office setting</a:t>
            </a:r>
          </a:p>
          <a:p>
            <a:pPr marL="304952" indent="-304952">
              <a:spcAft>
                <a:spcPts val="320"/>
              </a:spcAft>
              <a:buFont typeface="Arial" panose="020B0604020202020204" pitchFamily="34" charset="0"/>
              <a:buChar char="•"/>
            </a:pPr>
            <a:r>
              <a:rPr lang="en-US" sz="1494" dirty="0"/>
              <a:t>Demographics</a:t>
            </a:r>
          </a:p>
        </p:txBody>
      </p:sp>
      <p:sp>
        <p:nvSpPr>
          <p:cNvPr id="26" name="Rectangle: Rounded Corners 25">
            <a:extLst>
              <a:ext uri="{FF2B5EF4-FFF2-40B4-BE49-F238E27FC236}">
                <a16:creationId xmlns:a16="http://schemas.microsoft.com/office/drawing/2014/main" id="{7332371F-972F-5B0F-1172-954A7B64FA0C}"/>
              </a:ext>
            </a:extLst>
          </p:cNvPr>
          <p:cNvSpPr>
            <a:spLocks/>
          </p:cNvSpPr>
          <p:nvPr/>
        </p:nvSpPr>
        <p:spPr>
          <a:xfrm>
            <a:off x="2192632" y="3874847"/>
            <a:ext cx="3618748" cy="1748383"/>
          </a:xfrm>
          <a:prstGeom prst="roundRect">
            <a:avLst>
              <a:gd name="adj" fmla="val 10633"/>
            </a:avLst>
          </a:prstGeom>
          <a:solidFill>
            <a:schemeClr val="accent2">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320"/>
              </a:spcAft>
            </a:pPr>
            <a:r>
              <a:rPr lang="en-US" sz="1708" b="1" u="sng" dirty="0"/>
              <a:t>Behavioral insights</a:t>
            </a:r>
          </a:p>
          <a:p>
            <a:pPr marL="304952" indent="-304952">
              <a:spcAft>
                <a:spcPts val="320"/>
              </a:spcAft>
              <a:buFont typeface="Arial" panose="020B0604020202020204" pitchFamily="34" charset="0"/>
              <a:buChar char="•"/>
            </a:pPr>
            <a:r>
              <a:rPr lang="en-US" sz="1494" dirty="0"/>
              <a:t>Expected impact of behavioral interventions</a:t>
            </a:r>
          </a:p>
          <a:p>
            <a:pPr marL="304952" indent="-304952">
              <a:spcAft>
                <a:spcPts val="320"/>
              </a:spcAft>
              <a:buFont typeface="Arial" panose="020B0604020202020204" pitchFamily="34" charset="0"/>
              <a:buChar char="•"/>
            </a:pPr>
            <a:r>
              <a:rPr lang="en-US" sz="1494" dirty="0"/>
              <a:t>Training in behavioral insights</a:t>
            </a:r>
          </a:p>
        </p:txBody>
      </p:sp>
      <p:sp>
        <p:nvSpPr>
          <p:cNvPr id="27" name="Rectangle: Rounded Corners 26">
            <a:extLst>
              <a:ext uri="{FF2B5EF4-FFF2-40B4-BE49-F238E27FC236}">
                <a16:creationId xmlns:a16="http://schemas.microsoft.com/office/drawing/2014/main" id="{92C829A6-5FEF-9209-417F-34C139B5F351}"/>
              </a:ext>
            </a:extLst>
          </p:cNvPr>
          <p:cNvSpPr>
            <a:spLocks/>
          </p:cNvSpPr>
          <p:nvPr/>
        </p:nvSpPr>
        <p:spPr>
          <a:xfrm>
            <a:off x="6151038" y="1894957"/>
            <a:ext cx="3618748" cy="1748383"/>
          </a:xfrm>
          <a:prstGeom prst="roundRect">
            <a:avLst>
              <a:gd name="adj" fmla="val 10633"/>
            </a:avLst>
          </a:prstGeom>
          <a:solidFill>
            <a:schemeClr val="bg2">
              <a:lumMod val="5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320"/>
              </a:spcAft>
            </a:pPr>
            <a:r>
              <a:rPr lang="en-US" sz="1708" b="1" u="sng" dirty="0"/>
              <a:t>Notaries’ set-up</a:t>
            </a:r>
          </a:p>
          <a:p>
            <a:pPr marL="304952" indent="-304952">
              <a:spcAft>
                <a:spcPts val="320"/>
              </a:spcAft>
              <a:buFont typeface="Arial" panose="020B0604020202020204" pitchFamily="34" charset="0"/>
              <a:buChar char="•"/>
            </a:pPr>
            <a:r>
              <a:rPr lang="en-US" sz="1494" dirty="0"/>
              <a:t>Transparency</a:t>
            </a:r>
          </a:p>
          <a:p>
            <a:pPr marL="304952" indent="-304952">
              <a:spcAft>
                <a:spcPts val="320"/>
              </a:spcAft>
              <a:buFont typeface="Arial" panose="020B0604020202020204" pitchFamily="34" charset="0"/>
              <a:buChar char="•"/>
            </a:pPr>
            <a:r>
              <a:rPr lang="en-US" sz="1494" dirty="0"/>
              <a:t>Timing of first contact in divorce proceedings</a:t>
            </a:r>
          </a:p>
          <a:p>
            <a:pPr marL="304952" indent="-304952">
              <a:spcAft>
                <a:spcPts val="320"/>
              </a:spcAft>
              <a:buFont typeface="Arial" panose="020B0604020202020204" pitchFamily="34" charset="0"/>
              <a:buChar char="•"/>
            </a:pPr>
            <a:r>
              <a:rPr lang="en-US" sz="1494" dirty="0"/>
              <a:t>Current Service Offering</a:t>
            </a:r>
          </a:p>
        </p:txBody>
      </p:sp>
    </p:spTree>
    <p:extLst>
      <p:ext uri="{BB962C8B-B14F-4D97-AF65-F5344CB8AC3E}">
        <p14:creationId xmlns:p14="http://schemas.microsoft.com/office/powerpoint/2010/main" val="309427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 grpId="0" animBg="1"/>
      <p:bldP spid="26" grpId="0" animBg="1"/>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19058-4FD1-1870-3016-150EDF53E7C7}"/>
            </a:ext>
          </a:extLst>
        </p:cNvPr>
        <p:cNvGrpSpPr/>
        <p:nvPr/>
      </p:nvGrpSpPr>
      <p:grpSpPr>
        <a:xfrm>
          <a:off x="0" y="0"/>
          <a:ext cx="0" cy="0"/>
          <a:chOff x="0" y="0"/>
          <a:chExt cx="0" cy="0"/>
        </a:xfrm>
      </p:grpSpPr>
      <p:graphicFrame>
        <p:nvGraphicFramePr>
          <p:cNvPr id="92" name="think-cell data - do not delete" hidden="1">
            <a:extLst>
              <a:ext uri="{FF2B5EF4-FFF2-40B4-BE49-F238E27FC236}">
                <a16:creationId xmlns:a16="http://schemas.microsoft.com/office/drawing/2014/main" id="{3375289C-1841-240F-7864-FE6CBBD27787}"/>
              </a:ext>
            </a:extLst>
          </p:cNvPr>
          <p:cNvGraphicFramePr>
            <a:graphicFrameLocks noChangeAspect="1"/>
          </p:cNvGraphicFramePr>
          <p:nvPr>
            <p:custDataLst>
              <p:tags r:id="rId1"/>
            </p:custDataLst>
          </p:nvPr>
        </p:nvGraphicFramePr>
        <p:xfrm>
          <a:off x="733105" y="848"/>
          <a:ext cx="847" cy="847"/>
        </p:xfrm>
        <a:graphic>
          <a:graphicData uri="http://schemas.openxmlformats.org/presentationml/2006/ole">
            <mc:AlternateContent xmlns:mc="http://schemas.openxmlformats.org/markup-compatibility/2006">
              <mc:Choice xmlns:v="urn:schemas-microsoft-com:vml" Requires="v">
                <p:oleObj name="think-cell Slide" r:id="rId87" imgW="347" imgH="348" progId="TCLayout.ActiveDocument.1">
                  <p:embed/>
                </p:oleObj>
              </mc:Choice>
              <mc:Fallback>
                <p:oleObj name="think-cell Slide" r:id="rId87" imgW="347" imgH="348" progId="TCLayout.ActiveDocument.1">
                  <p:embed/>
                  <p:pic>
                    <p:nvPicPr>
                      <p:cNvPr id="92" name="think-cell data - do not delete" hidden="1">
                        <a:extLst>
                          <a:ext uri="{FF2B5EF4-FFF2-40B4-BE49-F238E27FC236}">
                            <a16:creationId xmlns:a16="http://schemas.microsoft.com/office/drawing/2014/main" id="{3375289C-1841-240F-7864-FE6CBBD27787}"/>
                          </a:ext>
                        </a:extLst>
                      </p:cNvPr>
                      <p:cNvPicPr/>
                      <p:nvPr/>
                    </p:nvPicPr>
                    <p:blipFill>
                      <a:blip r:embed="rId88"/>
                      <a:stretch>
                        <a:fillRect/>
                      </a:stretch>
                    </p:blipFill>
                    <p:spPr>
                      <a:xfrm>
                        <a:off x="733105" y="848"/>
                        <a:ext cx="847" cy="847"/>
                      </a:xfrm>
                      <a:prstGeom prst="rect">
                        <a:avLst/>
                      </a:prstGeom>
                    </p:spPr>
                  </p:pic>
                </p:oleObj>
              </mc:Fallback>
            </mc:AlternateContent>
          </a:graphicData>
        </a:graphic>
      </p:graphicFrame>
      <p:grpSp>
        <p:nvGrpSpPr>
          <p:cNvPr id="3" name="object 3">
            <a:extLst>
              <a:ext uri="{FF2B5EF4-FFF2-40B4-BE49-F238E27FC236}">
                <a16:creationId xmlns:a16="http://schemas.microsoft.com/office/drawing/2014/main" id="{03F2232E-1241-505C-5C5A-80B8CB7D9A4A}"/>
              </a:ext>
            </a:extLst>
          </p:cNvPr>
          <p:cNvGrpSpPr/>
          <p:nvPr/>
        </p:nvGrpSpPr>
        <p:grpSpPr>
          <a:xfrm>
            <a:off x="9199589" y="5616681"/>
            <a:ext cx="2268832" cy="1247248"/>
            <a:chOff x="15868405" y="10526075"/>
            <a:chExt cx="4251960" cy="2337435"/>
          </a:xfrm>
        </p:grpSpPr>
        <p:sp>
          <p:nvSpPr>
            <p:cNvPr id="4" name="object 4">
              <a:extLst>
                <a:ext uri="{FF2B5EF4-FFF2-40B4-BE49-F238E27FC236}">
                  <a16:creationId xmlns:a16="http://schemas.microsoft.com/office/drawing/2014/main" id="{9FCDD5CF-6598-E03F-8D35-8FEF247A637C}"/>
                </a:ext>
              </a:extLst>
            </p:cNvPr>
            <p:cNvSpPr/>
            <p:nvPr/>
          </p:nvSpPr>
          <p:spPr>
            <a:xfrm>
              <a:off x="17231200" y="11172070"/>
              <a:ext cx="587375" cy="579755"/>
            </a:xfrm>
            <a:custGeom>
              <a:avLst/>
              <a:gdLst/>
              <a:ahLst/>
              <a:cxnLst/>
              <a:rect l="l" t="t" r="r" b="b"/>
              <a:pathLst>
                <a:path w="587375" h="579754">
                  <a:moveTo>
                    <a:pt x="587259" y="0"/>
                  </a:moveTo>
                  <a:lnTo>
                    <a:pt x="513460" y="0"/>
                  </a:lnTo>
                  <a:lnTo>
                    <a:pt x="513460" y="285687"/>
                  </a:lnTo>
                  <a:lnTo>
                    <a:pt x="507898" y="334898"/>
                  </a:lnTo>
                  <a:lnTo>
                    <a:pt x="492045" y="380220"/>
                  </a:lnTo>
                  <a:lnTo>
                    <a:pt x="467148" y="420422"/>
                  </a:lnTo>
                  <a:lnTo>
                    <a:pt x="434457" y="454279"/>
                  </a:lnTo>
                  <a:lnTo>
                    <a:pt x="434457" y="0"/>
                  </a:lnTo>
                  <a:lnTo>
                    <a:pt x="358407" y="0"/>
                  </a:lnTo>
                  <a:lnTo>
                    <a:pt x="358407" y="495754"/>
                  </a:lnTo>
                  <a:lnTo>
                    <a:pt x="342810" y="499947"/>
                  </a:lnTo>
                  <a:lnTo>
                    <a:pt x="326785" y="503005"/>
                  </a:lnTo>
                  <a:lnTo>
                    <a:pt x="310376" y="504877"/>
                  </a:lnTo>
                  <a:lnTo>
                    <a:pt x="293624" y="505513"/>
                  </a:lnTo>
                  <a:lnTo>
                    <a:pt x="249374" y="501039"/>
                  </a:lnTo>
                  <a:lnTo>
                    <a:pt x="208134" y="488212"/>
                  </a:lnTo>
                  <a:lnTo>
                    <a:pt x="170795" y="467921"/>
                  </a:lnTo>
                  <a:lnTo>
                    <a:pt x="138248" y="441058"/>
                  </a:lnTo>
                  <a:lnTo>
                    <a:pt x="111383" y="408513"/>
                  </a:lnTo>
                  <a:lnTo>
                    <a:pt x="91090" y="371175"/>
                  </a:lnTo>
                  <a:lnTo>
                    <a:pt x="78262" y="329937"/>
                  </a:lnTo>
                  <a:lnTo>
                    <a:pt x="73788" y="285687"/>
                  </a:lnTo>
                  <a:lnTo>
                    <a:pt x="73788" y="272431"/>
                  </a:lnTo>
                  <a:lnTo>
                    <a:pt x="0" y="272431"/>
                  </a:lnTo>
                  <a:lnTo>
                    <a:pt x="0" y="285687"/>
                  </a:lnTo>
                  <a:lnTo>
                    <a:pt x="3850" y="333251"/>
                  </a:lnTo>
                  <a:lnTo>
                    <a:pt x="14995" y="378394"/>
                  </a:lnTo>
                  <a:lnTo>
                    <a:pt x="32825" y="420508"/>
                  </a:lnTo>
                  <a:lnTo>
                    <a:pt x="56731" y="458984"/>
                  </a:lnTo>
                  <a:lnTo>
                    <a:pt x="86103" y="493212"/>
                  </a:lnTo>
                  <a:lnTo>
                    <a:pt x="120332" y="522583"/>
                  </a:lnTo>
                  <a:lnTo>
                    <a:pt x="158808" y="546488"/>
                  </a:lnTo>
                  <a:lnTo>
                    <a:pt x="200921" y="564317"/>
                  </a:lnTo>
                  <a:lnTo>
                    <a:pt x="246063" y="575462"/>
                  </a:lnTo>
                  <a:lnTo>
                    <a:pt x="293624" y="579312"/>
                  </a:lnTo>
                  <a:lnTo>
                    <a:pt x="341190" y="575462"/>
                  </a:lnTo>
                  <a:lnTo>
                    <a:pt x="386336" y="564317"/>
                  </a:lnTo>
                  <a:lnTo>
                    <a:pt x="428452" y="546488"/>
                  </a:lnTo>
                  <a:lnTo>
                    <a:pt x="466929" y="522583"/>
                  </a:lnTo>
                  <a:lnTo>
                    <a:pt x="501158" y="493212"/>
                  </a:lnTo>
                  <a:lnTo>
                    <a:pt x="530530" y="458984"/>
                  </a:lnTo>
                  <a:lnTo>
                    <a:pt x="554435" y="420508"/>
                  </a:lnTo>
                  <a:lnTo>
                    <a:pt x="572265" y="378394"/>
                  </a:lnTo>
                  <a:lnTo>
                    <a:pt x="583409" y="333251"/>
                  </a:lnTo>
                  <a:lnTo>
                    <a:pt x="587259" y="285687"/>
                  </a:lnTo>
                  <a:lnTo>
                    <a:pt x="587259" y="0"/>
                  </a:lnTo>
                  <a:close/>
                </a:path>
              </a:pathLst>
            </a:custGeom>
            <a:solidFill>
              <a:srgbClr val="A78A4C"/>
            </a:solidFill>
          </p:spPr>
          <p:txBody>
            <a:bodyPr wrap="square" lIns="0" tIns="0" rIns="0" bIns="0" rtlCol="0"/>
            <a:lstStyle/>
            <a:p>
              <a:endParaRPr lang="en-US" sz="960" dirty="0"/>
            </a:p>
          </p:txBody>
        </p:sp>
        <p:pic>
          <p:nvPicPr>
            <p:cNvPr id="5" name="object 5">
              <a:extLst>
                <a:ext uri="{FF2B5EF4-FFF2-40B4-BE49-F238E27FC236}">
                  <a16:creationId xmlns:a16="http://schemas.microsoft.com/office/drawing/2014/main" id="{D94C5C6B-CCA7-B609-C8ED-5985126E1A2F}"/>
                </a:ext>
              </a:extLst>
            </p:cNvPr>
            <p:cNvPicPr/>
            <p:nvPr/>
          </p:nvPicPr>
          <p:blipFill>
            <a:blip r:embed="rId89" cstate="print"/>
            <a:stretch>
              <a:fillRect/>
            </a:stretch>
          </p:blipFill>
          <p:spPr>
            <a:xfrm>
              <a:off x="18065730" y="11020372"/>
              <a:ext cx="91557" cy="243814"/>
            </a:xfrm>
            <a:prstGeom prst="rect">
              <a:avLst/>
            </a:prstGeom>
          </p:spPr>
        </p:pic>
        <p:pic>
          <p:nvPicPr>
            <p:cNvPr id="6" name="object 6">
              <a:extLst>
                <a:ext uri="{FF2B5EF4-FFF2-40B4-BE49-F238E27FC236}">
                  <a16:creationId xmlns:a16="http://schemas.microsoft.com/office/drawing/2014/main" id="{F2288584-9BC9-489E-5C05-253BDB01FAF2}"/>
                </a:ext>
              </a:extLst>
            </p:cNvPr>
            <p:cNvPicPr/>
            <p:nvPr/>
          </p:nvPicPr>
          <p:blipFill>
            <a:blip r:embed="rId90" cstate="print"/>
            <a:stretch>
              <a:fillRect/>
            </a:stretch>
          </p:blipFill>
          <p:spPr>
            <a:xfrm>
              <a:off x="18196175" y="11020373"/>
              <a:ext cx="157984" cy="188088"/>
            </a:xfrm>
            <a:prstGeom prst="rect">
              <a:avLst/>
            </a:prstGeom>
          </p:spPr>
        </p:pic>
        <p:pic>
          <p:nvPicPr>
            <p:cNvPr id="7" name="object 7">
              <a:extLst>
                <a:ext uri="{FF2B5EF4-FFF2-40B4-BE49-F238E27FC236}">
                  <a16:creationId xmlns:a16="http://schemas.microsoft.com/office/drawing/2014/main" id="{8E2E7093-1DA6-875E-F1F5-ECB8ABB92C01}"/>
                </a:ext>
              </a:extLst>
            </p:cNvPr>
            <p:cNvPicPr/>
            <p:nvPr/>
          </p:nvPicPr>
          <p:blipFill>
            <a:blip r:embed="rId91" cstate="print"/>
            <a:stretch>
              <a:fillRect/>
            </a:stretch>
          </p:blipFill>
          <p:spPr>
            <a:xfrm>
              <a:off x="18384343" y="11017713"/>
              <a:ext cx="284270" cy="190748"/>
            </a:xfrm>
            <a:prstGeom prst="rect">
              <a:avLst/>
            </a:prstGeom>
          </p:spPr>
        </p:pic>
        <p:sp>
          <p:nvSpPr>
            <p:cNvPr id="8" name="object 8">
              <a:extLst>
                <a:ext uri="{FF2B5EF4-FFF2-40B4-BE49-F238E27FC236}">
                  <a16:creationId xmlns:a16="http://schemas.microsoft.com/office/drawing/2014/main" id="{8E3C83CE-2E66-022A-5414-1330EBA30DCA}"/>
                </a:ext>
              </a:extLst>
            </p:cNvPr>
            <p:cNvSpPr/>
            <p:nvPr/>
          </p:nvSpPr>
          <p:spPr>
            <a:xfrm>
              <a:off x="18695001" y="11020376"/>
              <a:ext cx="50165" cy="186055"/>
            </a:xfrm>
            <a:custGeom>
              <a:avLst/>
              <a:gdLst/>
              <a:ahLst/>
              <a:cxnLst/>
              <a:rect l="l" t="t" r="r" b="b"/>
              <a:pathLst>
                <a:path w="50165" h="186054">
                  <a:moveTo>
                    <a:pt x="50134" y="0"/>
                  </a:moveTo>
                  <a:lnTo>
                    <a:pt x="0" y="0"/>
                  </a:lnTo>
                  <a:lnTo>
                    <a:pt x="0" y="185554"/>
                  </a:lnTo>
                  <a:lnTo>
                    <a:pt x="50134" y="185554"/>
                  </a:lnTo>
                  <a:lnTo>
                    <a:pt x="50134" y="0"/>
                  </a:lnTo>
                  <a:close/>
                </a:path>
              </a:pathLst>
            </a:custGeom>
            <a:solidFill>
              <a:srgbClr val="7A7C81"/>
            </a:solidFill>
          </p:spPr>
          <p:txBody>
            <a:bodyPr wrap="square" lIns="0" tIns="0" rIns="0" bIns="0" rtlCol="0"/>
            <a:lstStyle/>
            <a:p>
              <a:endParaRPr lang="en-US" sz="960" dirty="0"/>
            </a:p>
          </p:txBody>
        </p:sp>
        <p:pic>
          <p:nvPicPr>
            <p:cNvPr id="9" name="object 9">
              <a:extLst>
                <a:ext uri="{FF2B5EF4-FFF2-40B4-BE49-F238E27FC236}">
                  <a16:creationId xmlns:a16="http://schemas.microsoft.com/office/drawing/2014/main" id="{62C85DB5-8399-E415-3008-312313789936}"/>
                </a:ext>
              </a:extLst>
            </p:cNvPr>
            <p:cNvPicPr/>
            <p:nvPr/>
          </p:nvPicPr>
          <p:blipFill>
            <a:blip r:embed="rId92" cstate="print"/>
            <a:stretch>
              <a:fillRect/>
            </a:stretch>
          </p:blipFill>
          <p:spPr>
            <a:xfrm>
              <a:off x="18778226" y="11017713"/>
              <a:ext cx="146738" cy="190748"/>
            </a:xfrm>
            <a:prstGeom prst="rect">
              <a:avLst/>
            </a:prstGeom>
          </p:spPr>
        </p:pic>
        <p:sp>
          <p:nvSpPr>
            <p:cNvPr id="10" name="object 10">
              <a:extLst>
                <a:ext uri="{FF2B5EF4-FFF2-40B4-BE49-F238E27FC236}">
                  <a16:creationId xmlns:a16="http://schemas.microsoft.com/office/drawing/2014/main" id="{25874E3A-96BE-3EAB-3F0B-DDC89A6F3326}"/>
                </a:ext>
              </a:extLst>
            </p:cNvPr>
            <p:cNvSpPr/>
            <p:nvPr/>
          </p:nvSpPr>
          <p:spPr>
            <a:xfrm>
              <a:off x="18952884" y="11020512"/>
              <a:ext cx="109855" cy="185420"/>
            </a:xfrm>
            <a:custGeom>
              <a:avLst/>
              <a:gdLst/>
              <a:ahLst/>
              <a:cxnLst/>
              <a:rect l="l" t="t" r="r" b="b"/>
              <a:pathLst>
                <a:path w="109855" h="185420">
                  <a:moveTo>
                    <a:pt x="109601" y="0"/>
                  </a:moveTo>
                  <a:lnTo>
                    <a:pt x="0" y="0"/>
                  </a:lnTo>
                  <a:lnTo>
                    <a:pt x="0" y="40640"/>
                  </a:lnTo>
                  <a:lnTo>
                    <a:pt x="0" y="69850"/>
                  </a:lnTo>
                  <a:lnTo>
                    <a:pt x="0" y="109220"/>
                  </a:lnTo>
                  <a:lnTo>
                    <a:pt x="0" y="144780"/>
                  </a:lnTo>
                  <a:lnTo>
                    <a:pt x="0" y="185420"/>
                  </a:lnTo>
                  <a:lnTo>
                    <a:pt x="109601" y="185420"/>
                  </a:lnTo>
                  <a:lnTo>
                    <a:pt x="109601" y="144780"/>
                  </a:lnTo>
                  <a:lnTo>
                    <a:pt x="49885" y="144780"/>
                  </a:lnTo>
                  <a:lnTo>
                    <a:pt x="49885" y="109220"/>
                  </a:lnTo>
                  <a:lnTo>
                    <a:pt x="105181" y="109220"/>
                  </a:lnTo>
                  <a:lnTo>
                    <a:pt x="105181" y="69850"/>
                  </a:lnTo>
                  <a:lnTo>
                    <a:pt x="49885" y="69850"/>
                  </a:lnTo>
                  <a:lnTo>
                    <a:pt x="49885" y="40640"/>
                  </a:lnTo>
                  <a:lnTo>
                    <a:pt x="109601" y="40640"/>
                  </a:lnTo>
                  <a:lnTo>
                    <a:pt x="109601" y="0"/>
                  </a:lnTo>
                  <a:close/>
                </a:path>
              </a:pathLst>
            </a:custGeom>
            <a:solidFill>
              <a:srgbClr val="7A7C81"/>
            </a:solidFill>
          </p:spPr>
          <p:txBody>
            <a:bodyPr wrap="square" lIns="0" tIns="0" rIns="0" bIns="0" rtlCol="0"/>
            <a:lstStyle/>
            <a:p>
              <a:endParaRPr lang="en-US" sz="960" dirty="0"/>
            </a:p>
          </p:txBody>
        </p:sp>
        <p:pic>
          <p:nvPicPr>
            <p:cNvPr id="11" name="object 11">
              <a:extLst>
                <a:ext uri="{FF2B5EF4-FFF2-40B4-BE49-F238E27FC236}">
                  <a16:creationId xmlns:a16="http://schemas.microsoft.com/office/drawing/2014/main" id="{BD0207B5-078D-F3BC-42EA-EBB695990B17}"/>
                </a:ext>
              </a:extLst>
            </p:cNvPr>
            <p:cNvPicPr/>
            <p:nvPr/>
          </p:nvPicPr>
          <p:blipFill>
            <a:blip r:embed="rId93" cstate="print"/>
            <a:stretch>
              <a:fillRect/>
            </a:stretch>
          </p:blipFill>
          <p:spPr>
            <a:xfrm>
              <a:off x="18055058" y="11302723"/>
              <a:ext cx="235657" cy="180287"/>
            </a:xfrm>
            <a:prstGeom prst="rect">
              <a:avLst/>
            </a:prstGeom>
          </p:spPr>
        </p:pic>
        <p:sp>
          <p:nvSpPr>
            <p:cNvPr id="12" name="object 12">
              <a:extLst>
                <a:ext uri="{FF2B5EF4-FFF2-40B4-BE49-F238E27FC236}">
                  <a16:creationId xmlns:a16="http://schemas.microsoft.com/office/drawing/2014/main" id="{FF2622CE-3FEF-3DF7-12CB-319EF3A1342C}"/>
                </a:ext>
              </a:extLst>
            </p:cNvPr>
            <p:cNvSpPr/>
            <p:nvPr/>
          </p:nvSpPr>
          <p:spPr>
            <a:xfrm>
              <a:off x="18316233" y="11302681"/>
              <a:ext cx="362585" cy="180340"/>
            </a:xfrm>
            <a:custGeom>
              <a:avLst/>
              <a:gdLst/>
              <a:ahLst/>
              <a:cxnLst/>
              <a:rect l="l" t="t" r="r" b="b"/>
              <a:pathLst>
                <a:path w="362584" h="180340">
                  <a:moveTo>
                    <a:pt x="29476" y="50"/>
                  </a:moveTo>
                  <a:lnTo>
                    <a:pt x="0" y="50"/>
                  </a:lnTo>
                  <a:lnTo>
                    <a:pt x="0" y="180340"/>
                  </a:lnTo>
                  <a:lnTo>
                    <a:pt x="29476" y="180340"/>
                  </a:lnTo>
                  <a:lnTo>
                    <a:pt x="29476" y="50"/>
                  </a:lnTo>
                  <a:close/>
                </a:path>
                <a:path w="362584" h="180340">
                  <a:moveTo>
                    <a:pt x="192379" y="0"/>
                  </a:moveTo>
                  <a:lnTo>
                    <a:pt x="56845" y="0"/>
                  </a:lnTo>
                  <a:lnTo>
                    <a:pt x="56845" y="25400"/>
                  </a:lnTo>
                  <a:lnTo>
                    <a:pt x="109880" y="25400"/>
                  </a:lnTo>
                  <a:lnTo>
                    <a:pt x="109880" y="180340"/>
                  </a:lnTo>
                  <a:lnTo>
                    <a:pt x="139344" y="180340"/>
                  </a:lnTo>
                  <a:lnTo>
                    <a:pt x="139344" y="25400"/>
                  </a:lnTo>
                  <a:lnTo>
                    <a:pt x="192379" y="25400"/>
                  </a:lnTo>
                  <a:lnTo>
                    <a:pt x="192379" y="0"/>
                  </a:lnTo>
                  <a:close/>
                </a:path>
                <a:path w="362584" h="180340">
                  <a:moveTo>
                    <a:pt x="362191" y="0"/>
                  </a:moveTo>
                  <a:lnTo>
                    <a:pt x="332587" y="0"/>
                  </a:lnTo>
                  <a:lnTo>
                    <a:pt x="332587" y="73660"/>
                  </a:lnTo>
                  <a:lnTo>
                    <a:pt x="249478" y="73660"/>
                  </a:lnTo>
                  <a:lnTo>
                    <a:pt x="249478" y="0"/>
                  </a:lnTo>
                  <a:lnTo>
                    <a:pt x="220002" y="0"/>
                  </a:lnTo>
                  <a:lnTo>
                    <a:pt x="220002" y="73660"/>
                  </a:lnTo>
                  <a:lnTo>
                    <a:pt x="220002" y="99060"/>
                  </a:lnTo>
                  <a:lnTo>
                    <a:pt x="220002" y="180340"/>
                  </a:lnTo>
                  <a:lnTo>
                    <a:pt x="249478" y="180340"/>
                  </a:lnTo>
                  <a:lnTo>
                    <a:pt x="249478" y="99060"/>
                  </a:lnTo>
                  <a:lnTo>
                    <a:pt x="332587" y="99060"/>
                  </a:lnTo>
                  <a:lnTo>
                    <a:pt x="332587" y="180340"/>
                  </a:lnTo>
                  <a:lnTo>
                    <a:pt x="362191" y="180340"/>
                  </a:lnTo>
                  <a:lnTo>
                    <a:pt x="362191" y="99060"/>
                  </a:lnTo>
                  <a:lnTo>
                    <a:pt x="362191" y="73660"/>
                  </a:lnTo>
                  <a:lnTo>
                    <a:pt x="362191" y="0"/>
                  </a:lnTo>
                  <a:close/>
                </a:path>
              </a:pathLst>
            </a:custGeom>
            <a:solidFill>
              <a:srgbClr val="7A7C81"/>
            </a:solidFill>
          </p:spPr>
          <p:txBody>
            <a:bodyPr wrap="square" lIns="0" tIns="0" rIns="0" bIns="0" rtlCol="0"/>
            <a:lstStyle/>
            <a:p>
              <a:endParaRPr lang="en-US" sz="960" dirty="0"/>
            </a:p>
          </p:txBody>
        </p:sp>
        <p:pic>
          <p:nvPicPr>
            <p:cNvPr id="13" name="object 13">
              <a:extLst>
                <a:ext uri="{FF2B5EF4-FFF2-40B4-BE49-F238E27FC236}">
                  <a16:creationId xmlns:a16="http://schemas.microsoft.com/office/drawing/2014/main" id="{8A0DA301-A877-988C-9049-55A5F74CEE51}"/>
                </a:ext>
              </a:extLst>
            </p:cNvPr>
            <p:cNvPicPr/>
            <p:nvPr/>
          </p:nvPicPr>
          <p:blipFill>
            <a:blip r:embed="rId94" cstate="print"/>
            <a:stretch>
              <a:fillRect/>
            </a:stretch>
          </p:blipFill>
          <p:spPr>
            <a:xfrm>
              <a:off x="18717022" y="11299886"/>
              <a:ext cx="168947" cy="185596"/>
            </a:xfrm>
            <a:prstGeom prst="rect">
              <a:avLst/>
            </a:prstGeom>
          </p:spPr>
        </p:pic>
        <p:pic>
          <p:nvPicPr>
            <p:cNvPr id="14" name="object 14">
              <a:extLst>
                <a:ext uri="{FF2B5EF4-FFF2-40B4-BE49-F238E27FC236}">
                  <a16:creationId xmlns:a16="http://schemas.microsoft.com/office/drawing/2014/main" id="{6921958D-750D-8037-F918-D4E4801D5BBC}"/>
                </a:ext>
              </a:extLst>
            </p:cNvPr>
            <p:cNvPicPr/>
            <p:nvPr/>
          </p:nvPicPr>
          <p:blipFill>
            <a:blip r:embed="rId95" cstate="print"/>
            <a:stretch>
              <a:fillRect/>
            </a:stretch>
          </p:blipFill>
          <p:spPr>
            <a:xfrm>
              <a:off x="18923084" y="11302724"/>
              <a:ext cx="142927" cy="182758"/>
            </a:xfrm>
            <a:prstGeom prst="rect">
              <a:avLst/>
            </a:prstGeom>
          </p:spPr>
        </p:pic>
        <p:sp>
          <p:nvSpPr>
            <p:cNvPr id="15" name="object 15">
              <a:extLst>
                <a:ext uri="{FF2B5EF4-FFF2-40B4-BE49-F238E27FC236}">
                  <a16:creationId xmlns:a16="http://schemas.microsoft.com/office/drawing/2014/main" id="{1D08A216-CE08-22CC-2624-884026C9C601}"/>
                </a:ext>
              </a:extLst>
            </p:cNvPr>
            <p:cNvSpPr/>
            <p:nvPr/>
          </p:nvSpPr>
          <p:spPr>
            <a:xfrm>
              <a:off x="18065725" y="11302681"/>
              <a:ext cx="1162050" cy="445134"/>
            </a:xfrm>
            <a:custGeom>
              <a:avLst/>
              <a:gdLst/>
              <a:ahLst/>
              <a:cxnLst/>
              <a:rect l="l" t="t" r="r" b="b"/>
              <a:pathLst>
                <a:path w="1162050" h="445134">
                  <a:moveTo>
                    <a:pt x="98767" y="433133"/>
                  </a:moveTo>
                  <a:lnTo>
                    <a:pt x="12598" y="433133"/>
                  </a:lnTo>
                  <a:lnTo>
                    <a:pt x="12598" y="264223"/>
                  </a:lnTo>
                  <a:lnTo>
                    <a:pt x="0" y="264223"/>
                  </a:lnTo>
                  <a:lnTo>
                    <a:pt x="0" y="433133"/>
                  </a:lnTo>
                  <a:lnTo>
                    <a:pt x="0" y="444563"/>
                  </a:lnTo>
                  <a:lnTo>
                    <a:pt x="98767" y="444563"/>
                  </a:lnTo>
                  <a:lnTo>
                    <a:pt x="98767" y="433133"/>
                  </a:lnTo>
                  <a:close/>
                </a:path>
                <a:path w="1162050" h="445134">
                  <a:moveTo>
                    <a:pt x="142532" y="263829"/>
                  </a:moveTo>
                  <a:lnTo>
                    <a:pt x="129921" y="263829"/>
                  </a:lnTo>
                  <a:lnTo>
                    <a:pt x="129921" y="444563"/>
                  </a:lnTo>
                  <a:lnTo>
                    <a:pt x="142532" y="444563"/>
                  </a:lnTo>
                  <a:lnTo>
                    <a:pt x="142532" y="263829"/>
                  </a:lnTo>
                  <a:close/>
                </a:path>
                <a:path w="1162050" h="445134">
                  <a:moveTo>
                    <a:pt x="299529" y="264223"/>
                  </a:moveTo>
                  <a:lnTo>
                    <a:pt x="169354" y="264223"/>
                  </a:lnTo>
                  <a:lnTo>
                    <a:pt x="169354" y="275653"/>
                  </a:lnTo>
                  <a:lnTo>
                    <a:pt x="228079" y="275653"/>
                  </a:lnTo>
                  <a:lnTo>
                    <a:pt x="228079" y="444563"/>
                  </a:lnTo>
                  <a:lnTo>
                    <a:pt x="240804" y="444563"/>
                  </a:lnTo>
                  <a:lnTo>
                    <a:pt x="240804" y="275653"/>
                  </a:lnTo>
                  <a:lnTo>
                    <a:pt x="299529" y="275653"/>
                  </a:lnTo>
                  <a:lnTo>
                    <a:pt x="299529" y="264223"/>
                  </a:lnTo>
                  <a:close/>
                </a:path>
                <a:path w="1162050" h="445134">
                  <a:moveTo>
                    <a:pt x="338963" y="263829"/>
                  </a:moveTo>
                  <a:lnTo>
                    <a:pt x="326351" y="263829"/>
                  </a:lnTo>
                  <a:lnTo>
                    <a:pt x="326351" y="444563"/>
                  </a:lnTo>
                  <a:lnTo>
                    <a:pt x="338963" y="444563"/>
                  </a:lnTo>
                  <a:lnTo>
                    <a:pt x="338963" y="263829"/>
                  </a:lnTo>
                  <a:close/>
                </a:path>
                <a:path w="1162050" h="445134">
                  <a:moveTo>
                    <a:pt x="1161707" y="0"/>
                  </a:moveTo>
                  <a:lnTo>
                    <a:pt x="1026172" y="0"/>
                  </a:lnTo>
                  <a:lnTo>
                    <a:pt x="1026172" y="25400"/>
                  </a:lnTo>
                  <a:lnTo>
                    <a:pt x="1079195" y="25400"/>
                  </a:lnTo>
                  <a:lnTo>
                    <a:pt x="1079195" y="180340"/>
                  </a:lnTo>
                  <a:lnTo>
                    <a:pt x="1108671" y="180340"/>
                  </a:lnTo>
                  <a:lnTo>
                    <a:pt x="1108671" y="25400"/>
                  </a:lnTo>
                  <a:lnTo>
                    <a:pt x="1161707" y="25400"/>
                  </a:lnTo>
                  <a:lnTo>
                    <a:pt x="1161707" y="0"/>
                  </a:lnTo>
                  <a:close/>
                </a:path>
              </a:pathLst>
            </a:custGeom>
            <a:solidFill>
              <a:srgbClr val="7A7C81"/>
            </a:solidFill>
          </p:spPr>
          <p:txBody>
            <a:bodyPr wrap="square" lIns="0" tIns="0" rIns="0" bIns="0" rtlCol="0"/>
            <a:lstStyle/>
            <a:p>
              <a:endParaRPr lang="en-US" sz="960" dirty="0"/>
            </a:p>
          </p:txBody>
        </p:sp>
        <p:pic>
          <p:nvPicPr>
            <p:cNvPr id="16" name="object 16">
              <a:extLst>
                <a:ext uri="{FF2B5EF4-FFF2-40B4-BE49-F238E27FC236}">
                  <a16:creationId xmlns:a16="http://schemas.microsoft.com/office/drawing/2014/main" id="{4B4CF9CC-ECB5-01DB-A763-F36F7EF34450}"/>
                </a:ext>
              </a:extLst>
            </p:cNvPr>
            <p:cNvPicPr/>
            <p:nvPr/>
          </p:nvPicPr>
          <p:blipFill>
            <a:blip r:embed="rId96" cstate="print"/>
            <a:stretch>
              <a:fillRect/>
            </a:stretch>
          </p:blipFill>
          <p:spPr>
            <a:xfrm>
              <a:off x="18446220" y="11563659"/>
              <a:ext cx="147367" cy="186046"/>
            </a:xfrm>
            <a:prstGeom prst="rect">
              <a:avLst/>
            </a:prstGeom>
          </p:spPr>
        </p:pic>
        <p:pic>
          <p:nvPicPr>
            <p:cNvPr id="17" name="object 17">
              <a:extLst>
                <a:ext uri="{FF2B5EF4-FFF2-40B4-BE49-F238E27FC236}">
                  <a16:creationId xmlns:a16="http://schemas.microsoft.com/office/drawing/2014/main" id="{430ADB7B-73A3-2BBB-2EEB-C32CF57CDFAD}"/>
                </a:ext>
              </a:extLst>
            </p:cNvPr>
            <p:cNvPicPr/>
            <p:nvPr/>
          </p:nvPicPr>
          <p:blipFill>
            <a:blip r:embed="rId97" cstate="print"/>
            <a:stretch>
              <a:fillRect/>
            </a:stretch>
          </p:blipFill>
          <p:spPr>
            <a:xfrm>
              <a:off x="18613357" y="11565767"/>
              <a:ext cx="283342" cy="181470"/>
            </a:xfrm>
            <a:prstGeom prst="rect">
              <a:avLst/>
            </a:prstGeom>
          </p:spPr>
        </p:pic>
        <p:sp>
          <p:nvSpPr>
            <p:cNvPr id="18" name="object 18">
              <a:extLst>
                <a:ext uri="{FF2B5EF4-FFF2-40B4-BE49-F238E27FC236}">
                  <a16:creationId xmlns:a16="http://schemas.microsoft.com/office/drawing/2014/main" id="{9896AA73-799C-C6D1-637C-65ED9F6FC5E6}"/>
                </a:ext>
              </a:extLst>
            </p:cNvPr>
            <p:cNvSpPr/>
            <p:nvPr/>
          </p:nvSpPr>
          <p:spPr>
            <a:xfrm>
              <a:off x="18923528" y="11566506"/>
              <a:ext cx="12700" cy="180975"/>
            </a:xfrm>
            <a:custGeom>
              <a:avLst/>
              <a:gdLst/>
              <a:ahLst/>
              <a:cxnLst/>
              <a:rect l="l" t="t" r="r" b="b"/>
              <a:pathLst>
                <a:path w="12700" h="180975">
                  <a:moveTo>
                    <a:pt x="12606" y="0"/>
                  </a:moveTo>
                  <a:lnTo>
                    <a:pt x="0" y="0"/>
                  </a:lnTo>
                  <a:lnTo>
                    <a:pt x="0" y="180727"/>
                  </a:lnTo>
                  <a:lnTo>
                    <a:pt x="12606" y="180727"/>
                  </a:lnTo>
                  <a:lnTo>
                    <a:pt x="12606" y="0"/>
                  </a:lnTo>
                  <a:close/>
                </a:path>
              </a:pathLst>
            </a:custGeom>
            <a:solidFill>
              <a:srgbClr val="7A7C81"/>
            </a:solidFill>
          </p:spPr>
          <p:txBody>
            <a:bodyPr wrap="square" lIns="0" tIns="0" rIns="0" bIns="0" rtlCol="0"/>
            <a:lstStyle/>
            <a:p>
              <a:endParaRPr lang="en-US" sz="960" dirty="0"/>
            </a:p>
          </p:txBody>
        </p:sp>
        <p:pic>
          <p:nvPicPr>
            <p:cNvPr id="19" name="object 19">
              <a:extLst>
                <a:ext uri="{FF2B5EF4-FFF2-40B4-BE49-F238E27FC236}">
                  <a16:creationId xmlns:a16="http://schemas.microsoft.com/office/drawing/2014/main" id="{14347FE5-2A63-53E3-737F-85A92863669F}"/>
                </a:ext>
              </a:extLst>
            </p:cNvPr>
            <p:cNvPicPr/>
            <p:nvPr/>
          </p:nvPicPr>
          <p:blipFill>
            <a:blip r:embed="rId98" cstate="print"/>
            <a:stretch>
              <a:fillRect/>
            </a:stretch>
          </p:blipFill>
          <p:spPr>
            <a:xfrm>
              <a:off x="18977667" y="11563661"/>
              <a:ext cx="161576" cy="186046"/>
            </a:xfrm>
            <a:prstGeom prst="rect">
              <a:avLst/>
            </a:prstGeom>
          </p:spPr>
        </p:pic>
        <p:pic>
          <p:nvPicPr>
            <p:cNvPr id="20" name="object 20">
              <a:extLst>
                <a:ext uri="{FF2B5EF4-FFF2-40B4-BE49-F238E27FC236}">
                  <a16:creationId xmlns:a16="http://schemas.microsoft.com/office/drawing/2014/main" id="{E2941B73-7313-F25A-FABE-FABF3E6B4E61}"/>
                </a:ext>
              </a:extLst>
            </p:cNvPr>
            <p:cNvPicPr/>
            <p:nvPr/>
          </p:nvPicPr>
          <p:blipFill>
            <a:blip r:embed="rId99" cstate="print"/>
            <a:stretch>
              <a:fillRect/>
            </a:stretch>
          </p:blipFill>
          <p:spPr>
            <a:xfrm>
              <a:off x="19180778" y="11566509"/>
              <a:ext cx="131409" cy="180727"/>
            </a:xfrm>
            <a:prstGeom prst="rect">
              <a:avLst/>
            </a:prstGeom>
          </p:spPr>
        </p:pic>
        <p:sp>
          <p:nvSpPr>
            <p:cNvPr id="21" name="object 21">
              <a:extLst>
                <a:ext uri="{FF2B5EF4-FFF2-40B4-BE49-F238E27FC236}">
                  <a16:creationId xmlns:a16="http://schemas.microsoft.com/office/drawing/2014/main" id="{54C812D6-1B03-F91F-CC87-D08FF0336560}"/>
                </a:ext>
              </a:extLst>
            </p:cNvPr>
            <p:cNvSpPr/>
            <p:nvPr/>
          </p:nvSpPr>
          <p:spPr>
            <a:xfrm>
              <a:off x="17305002" y="11018376"/>
              <a:ext cx="513715" cy="76200"/>
            </a:xfrm>
            <a:custGeom>
              <a:avLst/>
              <a:gdLst/>
              <a:ahLst/>
              <a:cxnLst/>
              <a:rect l="l" t="t" r="r" b="b"/>
              <a:pathLst>
                <a:path w="513715" h="76200">
                  <a:moveTo>
                    <a:pt x="513418" y="0"/>
                  </a:moveTo>
                  <a:lnTo>
                    <a:pt x="0" y="0"/>
                  </a:lnTo>
                  <a:lnTo>
                    <a:pt x="0" y="76050"/>
                  </a:lnTo>
                  <a:lnTo>
                    <a:pt x="513418" y="76050"/>
                  </a:lnTo>
                  <a:lnTo>
                    <a:pt x="513418" y="0"/>
                  </a:lnTo>
                  <a:close/>
                </a:path>
              </a:pathLst>
            </a:custGeom>
            <a:solidFill>
              <a:srgbClr val="A78A4C"/>
            </a:solidFill>
          </p:spPr>
          <p:txBody>
            <a:bodyPr wrap="square" lIns="0" tIns="0" rIns="0" bIns="0" rtlCol="0"/>
            <a:lstStyle/>
            <a:p>
              <a:endParaRPr lang="en-US" sz="960" dirty="0"/>
            </a:p>
          </p:txBody>
        </p:sp>
        <p:sp>
          <p:nvSpPr>
            <p:cNvPr id="22" name="object 22">
              <a:extLst>
                <a:ext uri="{FF2B5EF4-FFF2-40B4-BE49-F238E27FC236}">
                  <a16:creationId xmlns:a16="http://schemas.microsoft.com/office/drawing/2014/main" id="{BD398453-F99C-E747-6BE3-4B574B8D35E6}"/>
                </a:ext>
              </a:extLst>
            </p:cNvPr>
            <p:cNvSpPr/>
            <p:nvPr/>
          </p:nvSpPr>
          <p:spPr>
            <a:xfrm>
              <a:off x="15884111" y="10541781"/>
              <a:ext cx="4220210" cy="2306320"/>
            </a:xfrm>
            <a:custGeom>
              <a:avLst/>
              <a:gdLst/>
              <a:ahLst/>
              <a:cxnLst/>
              <a:rect l="l" t="t" r="r" b="b"/>
              <a:pathLst>
                <a:path w="4220209" h="2306320">
                  <a:moveTo>
                    <a:pt x="4219988" y="815958"/>
                  </a:moveTo>
                  <a:lnTo>
                    <a:pt x="4191904" y="882755"/>
                  </a:lnTo>
                  <a:lnTo>
                    <a:pt x="4172368" y="925143"/>
                  </a:lnTo>
                  <a:lnTo>
                    <a:pt x="4151819" y="966953"/>
                  </a:lnTo>
                  <a:lnTo>
                    <a:pt x="4130274" y="1008168"/>
                  </a:lnTo>
                  <a:lnTo>
                    <a:pt x="4107749" y="1048774"/>
                  </a:lnTo>
                  <a:lnTo>
                    <a:pt x="4084260" y="1088754"/>
                  </a:lnTo>
                  <a:lnTo>
                    <a:pt x="4059821" y="1128093"/>
                  </a:lnTo>
                  <a:lnTo>
                    <a:pt x="4034449" y="1166773"/>
                  </a:lnTo>
                  <a:lnTo>
                    <a:pt x="4008160" y="1204781"/>
                  </a:lnTo>
                  <a:lnTo>
                    <a:pt x="3980969" y="1242098"/>
                  </a:lnTo>
                  <a:lnTo>
                    <a:pt x="3952893" y="1278711"/>
                  </a:lnTo>
                  <a:lnTo>
                    <a:pt x="3923946" y="1314603"/>
                  </a:lnTo>
                  <a:lnTo>
                    <a:pt x="3894144" y="1349757"/>
                  </a:lnTo>
                  <a:lnTo>
                    <a:pt x="3863505" y="1384159"/>
                  </a:lnTo>
                  <a:lnTo>
                    <a:pt x="3832042" y="1417791"/>
                  </a:lnTo>
                  <a:lnTo>
                    <a:pt x="3799772" y="1450639"/>
                  </a:lnTo>
                  <a:lnTo>
                    <a:pt x="3766711" y="1482687"/>
                  </a:lnTo>
                  <a:lnTo>
                    <a:pt x="3732874" y="1513918"/>
                  </a:lnTo>
                  <a:lnTo>
                    <a:pt x="3698277" y="1544317"/>
                  </a:lnTo>
                  <a:lnTo>
                    <a:pt x="3662937" y="1573867"/>
                  </a:lnTo>
                  <a:lnTo>
                    <a:pt x="3626868" y="1602554"/>
                  </a:lnTo>
                  <a:lnTo>
                    <a:pt x="3590086" y="1630360"/>
                  </a:lnTo>
                  <a:lnTo>
                    <a:pt x="3552607" y="1657271"/>
                  </a:lnTo>
                  <a:lnTo>
                    <a:pt x="3514448" y="1683270"/>
                  </a:lnTo>
                  <a:lnTo>
                    <a:pt x="3475623" y="1708341"/>
                  </a:lnTo>
                  <a:lnTo>
                    <a:pt x="3436148" y="1732468"/>
                  </a:lnTo>
                  <a:lnTo>
                    <a:pt x="3396040" y="1755637"/>
                  </a:lnTo>
                  <a:lnTo>
                    <a:pt x="3355314" y="1777830"/>
                  </a:lnTo>
                  <a:lnTo>
                    <a:pt x="3313985" y="1799031"/>
                  </a:lnTo>
                  <a:lnTo>
                    <a:pt x="3272070" y="1819226"/>
                  </a:lnTo>
                  <a:lnTo>
                    <a:pt x="3229584" y="1838398"/>
                  </a:lnTo>
                  <a:lnTo>
                    <a:pt x="3186543" y="1856530"/>
                  </a:lnTo>
                  <a:lnTo>
                    <a:pt x="3142962" y="1873609"/>
                  </a:lnTo>
                  <a:lnTo>
                    <a:pt x="3098858" y="1889616"/>
                  </a:lnTo>
                  <a:lnTo>
                    <a:pt x="3054247" y="1904537"/>
                  </a:lnTo>
                  <a:lnTo>
                    <a:pt x="3009143" y="1918356"/>
                  </a:lnTo>
                  <a:lnTo>
                    <a:pt x="2963563" y="1931056"/>
                  </a:lnTo>
                  <a:lnTo>
                    <a:pt x="2917522" y="1942622"/>
                  </a:lnTo>
                  <a:lnTo>
                    <a:pt x="2871037" y="1953038"/>
                  </a:lnTo>
                  <a:lnTo>
                    <a:pt x="2824123" y="1962288"/>
                  </a:lnTo>
                  <a:lnTo>
                    <a:pt x="2776795" y="1970357"/>
                  </a:lnTo>
                  <a:lnTo>
                    <a:pt x="2729070" y="1977227"/>
                  </a:lnTo>
                  <a:lnTo>
                    <a:pt x="2680963" y="1982885"/>
                  </a:lnTo>
                  <a:lnTo>
                    <a:pt x="2632491" y="1987312"/>
                  </a:lnTo>
                  <a:lnTo>
                    <a:pt x="2583668" y="1990494"/>
                  </a:lnTo>
                  <a:lnTo>
                    <a:pt x="2534510" y="1992415"/>
                  </a:lnTo>
                  <a:lnTo>
                    <a:pt x="2485034" y="1993059"/>
                  </a:lnTo>
                  <a:lnTo>
                    <a:pt x="2436764" y="1992447"/>
                  </a:lnTo>
                  <a:lnTo>
                    <a:pt x="2388796" y="1990619"/>
                  </a:lnTo>
                  <a:lnTo>
                    <a:pt x="2341143" y="1987591"/>
                  </a:lnTo>
                  <a:lnTo>
                    <a:pt x="2293821" y="1983377"/>
                  </a:lnTo>
                  <a:lnTo>
                    <a:pt x="2246844" y="1977992"/>
                  </a:lnTo>
                  <a:lnTo>
                    <a:pt x="2200227" y="1971450"/>
                  </a:lnTo>
                  <a:lnTo>
                    <a:pt x="2153985" y="1963767"/>
                  </a:lnTo>
                  <a:lnTo>
                    <a:pt x="2108132" y="1954958"/>
                  </a:lnTo>
                  <a:lnTo>
                    <a:pt x="2062683" y="1945036"/>
                  </a:lnTo>
                  <a:lnTo>
                    <a:pt x="2017652" y="1934016"/>
                  </a:lnTo>
                  <a:lnTo>
                    <a:pt x="1973055" y="1921914"/>
                  </a:lnTo>
                  <a:lnTo>
                    <a:pt x="1928906" y="1908745"/>
                  </a:lnTo>
                  <a:lnTo>
                    <a:pt x="1885220" y="1894521"/>
                  </a:lnTo>
                  <a:lnTo>
                    <a:pt x="1842011" y="1879260"/>
                  </a:lnTo>
                  <a:lnTo>
                    <a:pt x="1799294" y="1862975"/>
                  </a:lnTo>
                  <a:lnTo>
                    <a:pt x="1757084" y="1845680"/>
                  </a:lnTo>
                  <a:lnTo>
                    <a:pt x="1715395" y="1827392"/>
                  </a:lnTo>
                  <a:lnTo>
                    <a:pt x="1674242" y="1808123"/>
                  </a:lnTo>
                  <a:lnTo>
                    <a:pt x="1633641" y="1787890"/>
                  </a:lnTo>
                  <a:lnTo>
                    <a:pt x="1593605" y="1766707"/>
                  </a:lnTo>
                  <a:lnTo>
                    <a:pt x="1554149" y="1744589"/>
                  </a:lnTo>
                  <a:lnTo>
                    <a:pt x="1515288" y="1721550"/>
                  </a:lnTo>
                  <a:lnTo>
                    <a:pt x="1477037" y="1697605"/>
                  </a:lnTo>
                  <a:lnTo>
                    <a:pt x="1439410" y="1672769"/>
                  </a:lnTo>
                  <a:lnTo>
                    <a:pt x="1402422" y="1647056"/>
                  </a:lnTo>
                  <a:lnTo>
                    <a:pt x="1366087" y="1620482"/>
                  </a:lnTo>
                  <a:lnTo>
                    <a:pt x="1330421" y="1593060"/>
                  </a:lnTo>
                  <a:lnTo>
                    <a:pt x="1295438" y="1564807"/>
                  </a:lnTo>
                  <a:lnTo>
                    <a:pt x="1261153" y="1535736"/>
                  </a:lnTo>
                  <a:lnTo>
                    <a:pt x="1227580" y="1505862"/>
                  </a:lnTo>
                  <a:lnTo>
                    <a:pt x="1194734" y="1475200"/>
                  </a:lnTo>
                  <a:lnTo>
                    <a:pt x="1162630" y="1443764"/>
                  </a:lnTo>
                  <a:lnTo>
                    <a:pt x="1131283" y="1411570"/>
                  </a:lnTo>
                  <a:lnTo>
                    <a:pt x="1100707" y="1378633"/>
                  </a:lnTo>
                  <a:lnTo>
                    <a:pt x="1070916" y="1344966"/>
                  </a:lnTo>
                  <a:lnTo>
                    <a:pt x="1041926" y="1310584"/>
                  </a:lnTo>
                  <a:lnTo>
                    <a:pt x="1013752" y="1275503"/>
                  </a:lnTo>
                  <a:lnTo>
                    <a:pt x="986407" y="1239737"/>
                  </a:lnTo>
                  <a:lnTo>
                    <a:pt x="959907" y="1203301"/>
                  </a:lnTo>
                  <a:lnTo>
                    <a:pt x="934266" y="1166209"/>
                  </a:lnTo>
                  <a:lnTo>
                    <a:pt x="909500" y="1128476"/>
                  </a:lnTo>
                  <a:lnTo>
                    <a:pt x="885621" y="1090118"/>
                  </a:lnTo>
                  <a:lnTo>
                    <a:pt x="862647" y="1051148"/>
                  </a:lnTo>
                  <a:lnTo>
                    <a:pt x="840590" y="1011581"/>
                  </a:lnTo>
                  <a:lnTo>
                    <a:pt x="819466" y="971433"/>
                  </a:lnTo>
                  <a:lnTo>
                    <a:pt x="799290" y="930717"/>
                  </a:lnTo>
                  <a:lnTo>
                    <a:pt x="780076" y="889449"/>
                  </a:lnTo>
                  <a:lnTo>
                    <a:pt x="761838" y="847644"/>
                  </a:lnTo>
                  <a:lnTo>
                    <a:pt x="744592" y="805315"/>
                  </a:lnTo>
                  <a:lnTo>
                    <a:pt x="728352" y="762479"/>
                  </a:lnTo>
                  <a:lnTo>
                    <a:pt x="713133" y="719148"/>
                  </a:lnTo>
                  <a:lnTo>
                    <a:pt x="698950" y="675339"/>
                  </a:lnTo>
                  <a:lnTo>
                    <a:pt x="685817" y="631066"/>
                  </a:lnTo>
                  <a:lnTo>
                    <a:pt x="673749" y="586344"/>
                  </a:lnTo>
                  <a:lnTo>
                    <a:pt x="662760" y="541187"/>
                  </a:lnTo>
                  <a:lnTo>
                    <a:pt x="652866" y="495610"/>
                  </a:lnTo>
                  <a:lnTo>
                    <a:pt x="644081" y="449629"/>
                  </a:lnTo>
                  <a:lnTo>
                    <a:pt x="636419" y="403256"/>
                  </a:lnTo>
                  <a:lnTo>
                    <a:pt x="629896" y="356509"/>
                  </a:lnTo>
                  <a:lnTo>
                    <a:pt x="624526" y="309400"/>
                  </a:lnTo>
                  <a:lnTo>
                    <a:pt x="620324" y="261945"/>
                  </a:lnTo>
                  <a:lnTo>
                    <a:pt x="617304" y="214159"/>
                  </a:lnTo>
                  <a:lnTo>
                    <a:pt x="615482" y="166055"/>
                  </a:lnTo>
                  <a:lnTo>
                    <a:pt x="614871" y="117650"/>
                  </a:lnTo>
                  <a:lnTo>
                    <a:pt x="615459" y="88007"/>
                  </a:lnTo>
                  <a:lnTo>
                    <a:pt x="616934" y="58593"/>
                  </a:lnTo>
                  <a:lnTo>
                    <a:pt x="618864" y="29295"/>
                  </a:lnTo>
                  <a:lnTo>
                    <a:pt x="620818" y="0"/>
                  </a:lnTo>
                  <a:lnTo>
                    <a:pt x="0" y="0"/>
                  </a:lnTo>
                  <a:lnTo>
                    <a:pt x="0" y="112425"/>
                  </a:lnTo>
                  <a:lnTo>
                    <a:pt x="462" y="160786"/>
                  </a:lnTo>
                  <a:lnTo>
                    <a:pt x="1844" y="208927"/>
                  </a:lnTo>
                  <a:lnTo>
                    <a:pt x="4137" y="256837"/>
                  </a:lnTo>
                  <a:lnTo>
                    <a:pt x="7333" y="304511"/>
                  </a:lnTo>
                  <a:lnTo>
                    <a:pt x="11422" y="351938"/>
                  </a:lnTo>
                  <a:lnTo>
                    <a:pt x="16398" y="399110"/>
                  </a:lnTo>
                  <a:lnTo>
                    <a:pt x="22251" y="446020"/>
                  </a:lnTo>
                  <a:lnTo>
                    <a:pt x="28973" y="492658"/>
                  </a:lnTo>
                  <a:lnTo>
                    <a:pt x="36555" y="539017"/>
                  </a:lnTo>
                  <a:lnTo>
                    <a:pt x="44990" y="585087"/>
                  </a:lnTo>
                  <a:lnTo>
                    <a:pt x="54268" y="630861"/>
                  </a:lnTo>
                  <a:lnTo>
                    <a:pt x="64382" y="676330"/>
                  </a:lnTo>
                  <a:lnTo>
                    <a:pt x="75322" y="721485"/>
                  </a:lnTo>
                  <a:lnTo>
                    <a:pt x="87081" y="766318"/>
                  </a:lnTo>
                  <a:lnTo>
                    <a:pt x="99650" y="810822"/>
                  </a:lnTo>
                  <a:lnTo>
                    <a:pt x="113021" y="854986"/>
                  </a:lnTo>
                  <a:lnTo>
                    <a:pt x="127185" y="898803"/>
                  </a:lnTo>
                  <a:lnTo>
                    <a:pt x="142133" y="942265"/>
                  </a:lnTo>
                  <a:lnTo>
                    <a:pt x="157858" y="985363"/>
                  </a:lnTo>
                  <a:lnTo>
                    <a:pt x="174351" y="1028088"/>
                  </a:lnTo>
                  <a:lnTo>
                    <a:pt x="191604" y="1070433"/>
                  </a:lnTo>
                  <a:lnTo>
                    <a:pt x="209607" y="1112388"/>
                  </a:lnTo>
                  <a:lnTo>
                    <a:pt x="228354" y="1153946"/>
                  </a:lnTo>
                  <a:lnTo>
                    <a:pt x="247835" y="1195098"/>
                  </a:lnTo>
                  <a:lnTo>
                    <a:pt x="268041" y="1235835"/>
                  </a:lnTo>
                  <a:lnTo>
                    <a:pt x="288965" y="1276149"/>
                  </a:lnTo>
                  <a:lnTo>
                    <a:pt x="310599" y="1316032"/>
                  </a:lnTo>
                  <a:lnTo>
                    <a:pt x="332932" y="1355475"/>
                  </a:lnTo>
                  <a:lnTo>
                    <a:pt x="355959" y="1394471"/>
                  </a:lnTo>
                  <a:lnTo>
                    <a:pt x="379668" y="1433009"/>
                  </a:lnTo>
                  <a:lnTo>
                    <a:pt x="404054" y="1471083"/>
                  </a:lnTo>
                  <a:lnTo>
                    <a:pt x="429106" y="1508683"/>
                  </a:lnTo>
                  <a:lnTo>
                    <a:pt x="454817" y="1545801"/>
                  </a:lnTo>
                  <a:lnTo>
                    <a:pt x="481178" y="1582429"/>
                  </a:lnTo>
                  <a:lnTo>
                    <a:pt x="508181" y="1618559"/>
                  </a:lnTo>
                  <a:lnTo>
                    <a:pt x="535817" y="1654181"/>
                  </a:lnTo>
                  <a:lnTo>
                    <a:pt x="564078" y="1689288"/>
                  </a:lnTo>
                  <a:lnTo>
                    <a:pt x="592956" y="1723871"/>
                  </a:lnTo>
                  <a:lnTo>
                    <a:pt x="622441" y="1757922"/>
                  </a:lnTo>
                  <a:lnTo>
                    <a:pt x="652527" y="1791432"/>
                  </a:lnTo>
                  <a:lnTo>
                    <a:pt x="683203" y="1824392"/>
                  </a:lnTo>
                  <a:lnTo>
                    <a:pt x="714463" y="1856796"/>
                  </a:lnTo>
                  <a:lnTo>
                    <a:pt x="746297" y="1888633"/>
                  </a:lnTo>
                  <a:lnTo>
                    <a:pt x="778697" y="1919895"/>
                  </a:lnTo>
                  <a:lnTo>
                    <a:pt x="811654" y="1950575"/>
                  </a:lnTo>
                  <a:lnTo>
                    <a:pt x="845161" y="1980664"/>
                  </a:lnTo>
                  <a:lnTo>
                    <a:pt x="879208" y="2010153"/>
                  </a:lnTo>
                  <a:lnTo>
                    <a:pt x="913788" y="2039033"/>
                  </a:lnTo>
                  <a:lnTo>
                    <a:pt x="948892" y="2067298"/>
                  </a:lnTo>
                  <a:lnTo>
                    <a:pt x="984511" y="2094937"/>
                  </a:lnTo>
                  <a:lnTo>
                    <a:pt x="1020637" y="2121943"/>
                  </a:lnTo>
                  <a:lnTo>
                    <a:pt x="1057262" y="2148307"/>
                  </a:lnTo>
                  <a:lnTo>
                    <a:pt x="1094378" y="2174021"/>
                  </a:lnTo>
                  <a:lnTo>
                    <a:pt x="1131975" y="2199077"/>
                  </a:lnTo>
                  <a:lnTo>
                    <a:pt x="1170046" y="2223465"/>
                  </a:lnTo>
                  <a:lnTo>
                    <a:pt x="1208582" y="2247178"/>
                  </a:lnTo>
                  <a:lnTo>
                    <a:pt x="1247574" y="2270207"/>
                  </a:lnTo>
                  <a:lnTo>
                    <a:pt x="1287014" y="2292544"/>
                  </a:lnTo>
                  <a:lnTo>
                    <a:pt x="1311807" y="2305994"/>
                  </a:lnTo>
                </a:path>
                <a:path w="4220209" h="2306320">
                  <a:moveTo>
                    <a:pt x="3669507" y="2305994"/>
                  </a:moveTo>
                  <a:lnTo>
                    <a:pt x="3733746" y="2270207"/>
                  </a:lnTo>
                  <a:lnTo>
                    <a:pt x="3772742" y="2247178"/>
                  </a:lnTo>
                  <a:lnTo>
                    <a:pt x="3811281" y="2223465"/>
                  </a:lnTo>
                  <a:lnTo>
                    <a:pt x="3849355" y="2199077"/>
                  </a:lnTo>
                  <a:lnTo>
                    <a:pt x="3886955" y="2174021"/>
                  </a:lnTo>
                  <a:lnTo>
                    <a:pt x="3924074" y="2148307"/>
                  </a:lnTo>
                  <a:lnTo>
                    <a:pt x="3960702" y="2121943"/>
                  </a:lnTo>
                  <a:lnTo>
                    <a:pt x="3996831" y="2094937"/>
                  </a:lnTo>
                  <a:lnTo>
                    <a:pt x="4032453" y="2067298"/>
                  </a:lnTo>
                  <a:lnTo>
                    <a:pt x="4067559" y="2039033"/>
                  </a:lnTo>
                  <a:lnTo>
                    <a:pt x="4102141" y="2010153"/>
                  </a:lnTo>
                  <a:lnTo>
                    <a:pt x="4136191" y="1980664"/>
                  </a:lnTo>
                  <a:lnTo>
                    <a:pt x="4169700" y="1950575"/>
                  </a:lnTo>
                  <a:lnTo>
                    <a:pt x="4202660" y="1919895"/>
                  </a:lnTo>
                  <a:lnTo>
                    <a:pt x="4219988" y="1903176"/>
                  </a:lnTo>
                </a:path>
              </a:pathLst>
            </a:custGeom>
            <a:ln w="31412">
              <a:solidFill>
                <a:srgbClr val="A78A4C"/>
              </a:solidFill>
            </a:ln>
          </p:spPr>
          <p:txBody>
            <a:bodyPr wrap="square" lIns="0" tIns="0" rIns="0" bIns="0" rtlCol="0"/>
            <a:lstStyle/>
            <a:p>
              <a:endParaRPr lang="en-US" sz="960" dirty="0"/>
            </a:p>
          </p:txBody>
        </p:sp>
      </p:grpSp>
      <p:sp>
        <p:nvSpPr>
          <p:cNvPr id="23" name="object 23">
            <a:extLst>
              <a:ext uri="{FF2B5EF4-FFF2-40B4-BE49-F238E27FC236}">
                <a16:creationId xmlns:a16="http://schemas.microsoft.com/office/drawing/2014/main" id="{3C8C8614-F236-E5A7-F52F-87DF4B092E83}"/>
              </a:ext>
            </a:extLst>
          </p:cNvPr>
          <p:cNvSpPr/>
          <p:nvPr/>
        </p:nvSpPr>
        <p:spPr>
          <a:xfrm>
            <a:off x="997639" y="0"/>
            <a:ext cx="336462" cy="2357268"/>
          </a:xfrm>
          <a:custGeom>
            <a:avLst/>
            <a:gdLst/>
            <a:ahLst/>
            <a:cxnLst/>
            <a:rect l="l" t="t" r="r" b="b"/>
            <a:pathLst>
              <a:path w="630555" h="4417695">
                <a:moveTo>
                  <a:pt x="630242" y="4083639"/>
                </a:moveTo>
                <a:lnTo>
                  <a:pt x="630242" y="4073744"/>
                </a:lnTo>
                <a:lnTo>
                  <a:pt x="630106" y="4073859"/>
                </a:lnTo>
                <a:lnTo>
                  <a:pt x="629855" y="4074090"/>
                </a:lnTo>
                <a:lnTo>
                  <a:pt x="629855" y="0"/>
                </a:lnTo>
              </a:path>
              <a:path w="630555" h="4417695">
                <a:moveTo>
                  <a:pt x="2434" y="0"/>
                </a:moveTo>
                <a:lnTo>
                  <a:pt x="0" y="2699357"/>
                </a:lnTo>
                <a:lnTo>
                  <a:pt x="0" y="4417388"/>
                </a:lnTo>
                <a:lnTo>
                  <a:pt x="49735" y="4401593"/>
                </a:lnTo>
                <a:lnTo>
                  <a:pt x="98845" y="4384492"/>
                </a:lnTo>
                <a:lnTo>
                  <a:pt x="147304" y="4366102"/>
                </a:lnTo>
                <a:lnTo>
                  <a:pt x="195086" y="4346440"/>
                </a:lnTo>
                <a:lnTo>
                  <a:pt x="242168" y="4325523"/>
                </a:lnTo>
                <a:lnTo>
                  <a:pt x="288524" y="4303369"/>
                </a:lnTo>
                <a:lnTo>
                  <a:pt x="334129" y="4279994"/>
                </a:lnTo>
                <a:lnTo>
                  <a:pt x="378959" y="4255416"/>
                </a:lnTo>
                <a:lnTo>
                  <a:pt x="422987" y="4229652"/>
                </a:lnTo>
                <a:lnTo>
                  <a:pt x="466190" y="4202719"/>
                </a:lnTo>
                <a:lnTo>
                  <a:pt x="508541" y="4174634"/>
                </a:lnTo>
                <a:lnTo>
                  <a:pt x="550017" y="4145414"/>
                </a:lnTo>
                <a:lnTo>
                  <a:pt x="590593" y="4115077"/>
                </a:lnTo>
                <a:lnTo>
                  <a:pt x="630242" y="4083639"/>
                </a:lnTo>
              </a:path>
            </a:pathLst>
          </a:custGeom>
          <a:ln w="31412">
            <a:solidFill>
              <a:srgbClr val="A78A4C"/>
            </a:solidFill>
          </a:ln>
        </p:spPr>
        <p:txBody>
          <a:bodyPr wrap="square" lIns="0" tIns="0" rIns="0" bIns="0" rtlCol="0"/>
          <a:lstStyle/>
          <a:p>
            <a:endParaRPr lang="en-US" sz="960" dirty="0"/>
          </a:p>
        </p:txBody>
      </p:sp>
      <p:sp>
        <p:nvSpPr>
          <p:cNvPr id="24" name="object 24">
            <a:extLst>
              <a:ext uri="{FF2B5EF4-FFF2-40B4-BE49-F238E27FC236}">
                <a16:creationId xmlns:a16="http://schemas.microsoft.com/office/drawing/2014/main" id="{61C5B622-6BAF-892B-3249-2F322488F4FE}"/>
              </a:ext>
            </a:extLst>
          </p:cNvPr>
          <p:cNvSpPr/>
          <p:nvPr/>
        </p:nvSpPr>
        <p:spPr>
          <a:xfrm>
            <a:off x="9164251" y="239452"/>
            <a:ext cx="2295600" cy="361536"/>
          </a:xfrm>
          <a:custGeom>
            <a:avLst/>
            <a:gdLst/>
            <a:ahLst/>
            <a:cxnLst/>
            <a:rect l="l" t="t" r="r" b="b"/>
            <a:pathLst>
              <a:path w="4302125" h="677544">
                <a:moveTo>
                  <a:pt x="4301921" y="0"/>
                </a:moveTo>
                <a:lnTo>
                  <a:pt x="0" y="0"/>
                </a:lnTo>
                <a:lnTo>
                  <a:pt x="0" y="677036"/>
                </a:lnTo>
                <a:lnTo>
                  <a:pt x="4301921" y="677036"/>
                </a:lnTo>
              </a:path>
            </a:pathLst>
          </a:custGeom>
          <a:ln w="31412">
            <a:solidFill>
              <a:srgbClr val="A78A4C"/>
            </a:solidFill>
          </a:ln>
        </p:spPr>
        <p:txBody>
          <a:bodyPr wrap="square" lIns="0" tIns="0" rIns="0" bIns="0" rtlCol="0"/>
          <a:lstStyle/>
          <a:p>
            <a:endParaRPr lang="en-US" sz="960" dirty="0"/>
          </a:p>
        </p:txBody>
      </p:sp>
      <p:sp>
        <p:nvSpPr>
          <p:cNvPr id="26" name="object 26">
            <a:extLst>
              <a:ext uri="{FF2B5EF4-FFF2-40B4-BE49-F238E27FC236}">
                <a16:creationId xmlns:a16="http://schemas.microsoft.com/office/drawing/2014/main" id="{7FE2F537-8B4C-0940-314F-8A52F0EF2427}"/>
              </a:ext>
            </a:extLst>
          </p:cNvPr>
          <p:cNvSpPr txBox="1">
            <a:spLocks noGrp="1"/>
          </p:cNvSpPr>
          <p:nvPr>
            <p:ph type="sldNum" sz="quarter" idx="7"/>
          </p:nvPr>
        </p:nvSpPr>
        <p:spPr>
          <a:xfrm>
            <a:off x="1689596" y="12106784"/>
            <a:ext cx="299085" cy="248284"/>
          </a:xfrm>
          <a:prstGeom prst="rect">
            <a:avLst/>
          </a:prstGeom>
        </p:spPr>
        <p:txBody>
          <a:bodyPr vert="horz" wrap="square" lIns="0" tIns="0" rIns="0" bIns="0" rtlCol="0">
            <a:spAutoFit/>
          </a:bodyPr>
          <a:lstStyle>
            <a:defPPr>
              <a:defRPr lang="de-DE"/>
            </a:defPPr>
            <a:lvl1pPr marL="0" algn="l" defTabSz="914400" rtl="0" eaLnBrk="1" latinLnBrk="0" hangingPunct="1">
              <a:defRPr sz="1450" b="0" i="0" kern="1200">
                <a:solidFill>
                  <a:srgbClr val="A78A4C"/>
                </a:solidFill>
                <a:latin typeface="HelveticaNeue-Light"/>
                <a:ea typeface="+mn-ea"/>
                <a:cs typeface="HelveticaNeue-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85"/>
              </a:spcBef>
            </a:pPr>
            <a:fld id="{81D60167-4931-47E6-BA6A-407CBD079E47}" type="slidenum">
              <a:rPr lang="en-US" spc="15" smtClean="0"/>
              <a:pPr marL="38100">
                <a:spcBef>
                  <a:spcPts val="85"/>
                </a:spcBef>
              </a:pPr>
              <a:t>6</a:t>
            </a:fld>
            <a:endParaRPr lang="en-US" spc="8" dirty="0"/>
          </a:p>
        </p:txBody>
      </p:sp>
      <p:sp>
        <p:nvSpPr>
          <p:cNvPr id="31" name="object 25">
            <a:extLst>
              <a:ext uri="{FF2B5EF4-FFF2-40B4-BE49-F238E27FC236}">
                <a16:creationId xmlns:a16="http://schemas.microsoft.com/office/drawing/2014/main" id="{976F4675-2B1E-B415-A7C7-6FAAE904D61F}"/>
              </a:ext>
            </a:extLst>
          </p:cNvPr>
          <p:cNvSpPr txBox="1">
            <a:spLocks/>
          </p:cNvSpPr>
          <p:nvPr/>
        </p:nvSpPr>
        <p:spPr>
          <a:xfrm>
            <a:off x="1591942" y="778840"/>
            <a:ext cx="7268943" cy="532286"/>
          </a:xfrm>
          <a:prstGeom prst="rect">
            <a:avLst/>
          </a:prstGeom>
        </p:spPr>
        <p:txBody>
          <a:bodyPr vert="horz" wrap="square" lIns="0" tIns="6438" rIns="0" bIns="0" rtlCol="0">
            <a:spAutoFit/>
          </a:bodyPr>
          <a:lstStyle>
            <a:lvl1pPr>
              <a:defRPr sz="8250" b="0" i="0">
                <a:solidFill>
                  <a:srgbClr val="7A7C81"/>
                </a:solidFill>
                <a:latin typeface="Arial"/>
                <a:ea typeface="+mj-ea"/>
                <a:cs typeface="Arial"/>
              </a:defRPr>
            </a:lvl1pPr>
          </a:lstStyle>
          <a:p>
            <a:pPr marL="6777">
              <a:lnSpc>
                <a:spcPts val="4117"/>
              </a:lnSpc>
              <a:spcBef>
                <a:spcPts val="51"/>
              </a:spcBef>
            </a:pPr>
            <a:r>
              <a:rPr lang="en-US" sz="3522" b="1" kern="0"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Proposed Timeline</a:t>
            </a:r>
            <a:endParaRPr lang="en-US" sz="3522" b="1" kern="0" dirty="0">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249" name="Holder 3">
            <a:extLst>
              <a:ext uri="{FF2B5EF4-FFF2-40B4-BE49-F238E27FC236}">
                <a16:creationId xmlns:a16="http://schemas.microsoft.com/office/drawing/2014/main" id="{F77029CE-D92F-5853-E301-779843EC7642}"/>
              </a:ext>
            </a:extLst>
          </p:cNvPr>
          <p:cNvSpPr>
            <a:spLocks noGrp="1"/>
          </p:cNvSpPr>
          <p:nvPr>
            <p:custDataLst>
              <p:tags r:id="rId2"/>
            </p:custDataLst>
          </p:nvPr>
        </p:nvSpPr>
        <p:spPr bwMode="auto">
          <a:xfrm>
            <a:off x="2456924" y="1648428"/>
            <a:ext cx="403720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7BDE30FC-DB8C-4B0C-BD9B-8BA5CDE6C3E7}" type="datetime'''''''''2''''''''''''''''0''''''''''2''''''''''''''''''5'''''">
              <a:rPr lang="en-US" altLang="en-US" sz="1281" b="1"/>
              <a:pPr algn="ctr">
                <a:spcBef>
                  <a:spcPct val="0"/>
                </a:spcBef>
                <a:spcAft>
                  <a:spcPct val="0"/>
                </a:spcAft>
              </a:pPr>
              <a:t>2025</a:t>
            </a:fld>
            <a:endParaRPr lang="en-US" sz="1281" b="1" dirty="0"/>
          </a:p>
        </p:txBody>
      </p:sp>
      <p:sp>
        <p:nvSpPr>
          <p:cNvPr id="251" name="Holder 3">
            <a:extLst>
              <a:ext uri="{FF2B5EF4-FFF2-40B4-BE49-F238E27FC236}">
                <a16:creationId xmlns:a16="http://schemas.microsoft.com/office/drawing/2014/main" id="{F2BEFB4F-E5DD-210A-3974-943782F1BAD9}"/>
              </a:ext>
            </a:extLst>
          </p:cNvPr>
          <p:cNvSpPr>
            <a:spLocks noGrp="1"/>
          </p:cNvSpPr>
          <p:nvPr>
            <p:custDataLst>
              <p:tags r:id="rId3"/>
            </p:custDataLst>
          </p:nvPr>
        </p:nvSpPr>
        <p:spPr bwMode="auto">
          <a:xfrm>
            <a:off x="6494130" y="1648428"/>
            <a:ext cx="403720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93F132E-DAB8-45D3-AA3F-AA69F6B64493}" type="datetime'''''2''''''''''''''0''''''''''''''''26'''''''''''''''''''''">
              <a:rPr lang="en-US" altLang="en-US" sz="1281" b="1"/>
              <a:pPr algn="ctr">
                <a:spcBef>
                  <a:spcPct val="0"/>
                </a:spcBef>
                <a:spcAft>
                  <a:spcPct val="0"/>
                </a:spcAft>
              </a:pPr>
              <a:t>2026</a:t>
            </a:fld>
            <a:endParaRPr lang="en-US" sz="1281" b="1" dirty="0"/>
          </a:p>
        </p:txBody>
      </p:sp>
      <p:sp>
        <p:nvSpPr>
          <p:cNvPr id="282" name="Holder 3">
            <a:extLst>
              <a:ext uri="{FF2B5EF4-FFF2-40B4-BE49-F238E27FC236}">
                <a16:creationId xmlns:a16="http://schemas.microsoft.com/office/drawing/2014/main" id="{06E022D9-2CB8-F418-403E-B66CCAD47459}"/>
              </a:ext>
            </a:extLst>
          </p:cNvPr>
          <p:cNvSpPr>
            <a:spLocks noGrp="1"/>
          </p:cNvSpPr>
          <p:nvPr>
            <p:custDataLst>
              <p:tags r:id="rId4"/>
            </p:custDataLst>
          </p:nvPr>
        </p:nvSpPr>
        <p:spPr bwMode="auto">
          <a:xfrm>
            <a:off x="2456923"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8083895-DE81-4D98-AF41-6D9976A8AF61}" type="datetime'''''''''''J''''''''''''''''''''''a''''n'''''''">
              <a:rPr lang="en-US" altLang="en-US" sz="1281"/>
              <a:pPr algn="ctr">
                <a:spcBef>
                  <a:spcPct val="0"/>
                </a:spcBef>
                <a:spcAft>
                  <a:spcPct val="0"/>
                </a:spcAft>
              </a:pPr>
              <a:t>Jan</a:t>
            </a:fld>
            <a:endParaRPr lang="en-US" sz="1281" dirty="0"/>
          </a:p>
        </p:txBody>
      </p:sp>
      <p:sp>
        <p:nvSpPr>
          <p:cNvPr id="284" name="Holder 3">
            <a:extLst>
              <a:ext uri="{FF2B5EF4-FFF2-40B4-BE49-F238E27FC236}">
                <a16:creationId xmlns:a16="http://schemas.microsoft.com/office/drawing/2014/main" id="{C2863C1B-6496-1D64-1F2F-02F48C467D39}"/>
              </a:ext>
            </a:extLst>
          </p:cNvPr>
          <p:cNvSpPr>
            <a:spLocks noGrp="1"/>
          </p:cNvSpPr>
          <p:nvPr>
            <p:custDataLst>
              <p:tags r:id="rId5"/>
            </p:custDataLst>
          </p:nvPr>
        </p:nvSpPr>
        <p:spPr bwMode="auto">
          <a:xfrm>
            <a:off x="2799993" y="1887306"/>
            <a:ext cx="309186"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4AFFFF4-DF05-4001-9AF4-508ECD4BEE11}" type="datetime'''F''''''''''''''''''''''''''''''e''''b'''''''''''''''''''''''">
              <a:rPr lang="en-US" altLang="en-US" sz="1281"/>
              <a:pPr algn="ctr">
                <a:spcBef>
                  <a:spcPct val="0"/>
                </a:spcBef>
                <a:spcAft>
                  <a:spcPct val="0"/>
                </a:spcAft>
              </a:pPr>
              <a:t>Feb</a:t>
            </a:fld>
            <a:endParaRPr lang="en-US" sz="1281" dirty="0"/>
          </a:p>
        </p:txBody>
      </p:sp>
      <p:sp>
        <p:nvSpPr>
          <p:cNvPr id="285" name="Holder 3">
            <a:extLst>
              <a:ext uri="{FF2B5EF4-FFF2-40B4-BE49-F238E27FC236}">
                <a16:creationId xmlns:a16="http://schemas.microsoft.com/office/drawing/2014/main" id="{AC4A96B0-7CD9-7997-C0ED-300A9A6C9844}"/>
              </a:ext>
            </a:extLst>
          </p:cNvPr>
          <p:cNvSpPr>
            <a:spLocks noGrp="1"/>
          </p:cNvSpPr>
          <p:nvPr>
            <p:custDataLst>
              <p:tags r:id="rId6"/>
            </p:custDataLst>
          </p:nvPr>
        </p:nvSpPr>
        <p:spPr bwMode="auto">
          <a:xfrm>
            <a:off x="3109178"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FE43EED-3A17-4D4A-8C7A-A56DFEA46ACD}" type="datetime'''''''''''''''''''M''''''''''''a''''''''r'''''''''''''''">
              <a:rPr lang="en-US" altLang="en-US" sz="1281"/>
              <a:pPr algn="ctr">
                <a:spcBef>
                  <a:spcPct val="0"/>
                </a:spcBef>
                <a:spcAft>
                  <a:spcPct val="0"/>
                </a:spcAft>
              </a:pPr>
              <a:t>Mar</a:t>
            </a:fld>
            <a:endParaRPr lang="en-US" sz="1281" dirty="0"/>
          </a:p>
        </p:txBody>
      </p:sp>
      <p:sp>
        <p:nvSpPr>
          <p:cNvPr id="286" name="Holder 3">
            <a:extLst>
              <a:ext uri="{FF2B5EF4-FFF2-40B4-BE49-F238E27FC236}">
                <a16:creationId xmlns:a16="http://schemas.microsoft.com/office/drawing/2014/main" id="{D8961A41-FE80-E2FF-2859-428E6DF457EC}"/>
              </a:ext>
            </a:extLst>
          </p:cNvPr>
          <p:cNvSpPr>
            <a:spLocks noGrp="1"/>
          </p:cNvSpPr>
          <p:nvPr>
            <p:custDataLst>
              <p:tags r:id="rId7"/>
            </p:custDataLst>
          </p:nvPr>
        </p:nvSpPr>
        <p:spPr bwMode="auto">
          <a:xfrm>
            <a:off x="3452248"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6E1B898-0981-41A1-849E-B79FACEF9630}" type="datetime'''A''''''p''''r'''''''">
              <a:rPr lang="en-US" altLang="en-US" sz="1281"/>
              <a:pPr algn="ctr">
                <a:spcBef>
                  <a:spcPct val="0"/>
                </a:spcBef>
                <a:spcAft>
                  <a:spcPct val="0"/>
                </a:spcAft>
              </a:pPr>
              <a:t>Apr</a:t>
            </a:fld>
            <a:endParaRPr lang="en-US" sz="1281" dirty="0"/>
          </a:p>
        </p:txBody>
      </p:sp>
      <p:sp>
        <p:nvSpPr>
          <p:cNvPr id="287" name="Holder 3">
            <a:extLst>
              <a:ext uri="{FF2B5EF4-FFF2-40B4-BE49-F238E27FC236}">
                <a16:creationId xmlns:a16="http://schemas.microsoft.com/office/drawing/2014/main" id="{90A5F32B-6C88-1BEF-44FA-34707D7CC6BF}"/>
              </a:ext>
            </a:extLst>
          </p:cNvPr>
          <p:cNvSpPr>
            <a:spLocks noGrp="1"/>
          </p:cNvSpPr>
          <p:nvPr>
            <p:custDataLst>
              <p:tags r:id="rId8"/>
            </p:custDataLst>
          </p:nvPr>
        </p:nvSpPr>
        <p:spPr bwMode="auto">
          <a:xfrm>
            <a:off x="3784305"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74396CF-44D3-421E-9420-4144354EC73A}" type="datetime'''''''Ma''''''y'''''">
              <a:rPr lang="en-US" altLang="en-US" sz="1281"/>
              <a:pPr algn="ctr">
                <a:spcBef>
                  <a:spcPct val="0"/>
                </a:spcBef>
                <a:spcAft>
                  <a:spcPct val="0"/>
                </a:spcAft>
              </a:pPr>
              <a:t>May</a:t>
            </a:fld>
            <a:endParaRPr lang="en-US" sz="1281" dirty="0"/>
          </a:p>
        </p:txBody>
      </p:sp>
      <p:sp>
        <p:nvSpPr>
          <p:cNvPr id="288" name="Holder 3">
            <a:extLst>
              <a:ext uri="{FF2B5EF4-FFF2-40B4-BE49-F238E27FC236}">
                <a16:creationId xmlns:a16="http://schemas.microsoft.com/office/drawing/2014/main" id="{8CB1D2C9-CDA6-9770-5FB7-E4225D1E66D5}"/>
              </a:ext>
            </a:extLst>
          </p:cNvPr>
          <p:cNvSpPr>
            <a:spLocks noGrp="1"/>
          </p:cNvSpPr>
          <p:nvPr>
            <p:custDataLst>
              <p:tags r:id="rId9"/>
            </p:custDataLst>
          </p:nvPr>
        </p:nvSpPr>
        <p:spPr bwMode="auto">
          <a:xfrm>
            <a:off x="4127376" y="1887306"/>
            <a:ext cx="33121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347FC6F1-D753-4D22-98E2-E0A2DC6AF83A}" type="datetime'''''''J''''''''''''''''''u''''''''''''n'">
              <a:rPr lang="en-US" altLang="en-US" sz="1281"/>
              <a:pPr algn="ctr">
                <a:spcBef>
                  <a:spcPct val="0"/>
                </a:spcBef>
                <a:spcAft>
                  <a:spcPct val="0"/>
                </a:spcAft>
              </a:pPr>
              <a:t>Jun</a:t>
            </a:fld>
            <a:endParaRPr lang="en-US" sz="1281" dirty="0"/>
          </a:p>
        </p:txBody>
      </p:sp>
      <p:sp>
        <p:nvSpPr>
          <p:cNvPr id="289" name="Holder 3">
            <a:extLst>
              <a:ext uri="{FF2B5EF4-FFF2-40B4-BE49-F238E27FC236}">
                <a16:creationId xmlns:a16="http://schemas.microsoft.com/office/drawing/2014/main" id="{0953D4E0-3BAD-8A6B-5F42-CFCC1EF09EF2}"/>
              </a:ext>
            </a:extLst>
          </p:cNvPr>
          <p:cNvSpPr>
            <a:spLocks noGrp="1"/>
          </p:cNvSpPr>
          <p:nvPr>
            <p:custDataLst>
              <p:tags r:id="rId10"/>
            </p:custDataLst>
          </p:nvPr>
        </p:nvSpPr>
        <p:spPr bwMode="auto">
          <a:xfrm>
            <a:off x="4458585"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430E5FE-383B-455B-9F80-E1980E5C172E}" type="datetime'''''''''''''''''J''''''''''''''''u''''''''l'''''''''''''''">
              <a:rPr lang="en-US" altLang="en-US" sz="1281"/>
              <a:pPr algn="ctr">
                <a:spcBef>
                  <a:spcPct val="0"/>
                </a:spcBef>
                <a:spcAft>
                  <a:spcPct val="0"/>
                </a:spcAft>
              </a:pPr>
              <a:t>Jul</a:t>
            </a:fld>
            <a:endParaRPr lang="en-US" sz="1281" dirty="0"/>
          </a:p>
        </p:txBody>
      </p:sp>
      <p:sp>
        <p:nvSpPr>
          <p:cNvPr id="290" name="Holder 3">
            <a:extLst>
              <a:ext uri="{FF2B5EF4-FFF2-40B4-BE49-F238E27FC236}">
                <a16:creationId xmlns:a16="http://schemas.microsoft.com/office/drawing/2014/main" id="{18D1F357-A45B-6DF8-B077-B28454EE57D4}"/>
              </a:ext>
            </a:extLst>
          </p:cNvPr>
          <p:cNvSpPr>
            <a:spLocks noGrp="1"/>
          </p:cNvSpPr>
          <p:nvPr>
            <p:custDataLst>
              <p:tags r:id="rId11"/>
            </p:custDataLst>
          </p:nvPr>
        </p:nvSpPr>
        <p:spPr bwMode="auto">
          <a:xfrm>
            <a:off x="4801654"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DA62204-C768-48D3-A63F-0454FEC8C4C0}" type="datetime'A''''''''''''''''''''''''''''''''''ug'">
              <a:rPr lang="en-US" altLang="en-US" sz="1281"/>
              <a:pPr algn="ctr">
                <a:spcBef>
                  <a:spcPct val="0"/>
                </a:spcBef>
                <a:spcAft>
                  <a:spcPct val="0"/>
                </a:spcAft>
              </a:pPr>
              <a:t>Aug</a:t>
            </a:fld>
            <a:endParaRPr lang="en-US" sz="1281" dirty="0"/>
          </a:p>
        </p:txBody>
      </p:sp>
      <p:sp>
        <p:nvSpPr>
          <p:cNvPr id="291" name="Holder 3">
            <a:extLst>
              <a:ext uri="{FF2B5EF4-FFF2-40B4-BE49-F238E27FC236}">
                <a16:creationId xmlns:a16="http://schemas.microsoft.com/office/drawing/2014/main" id="{EC4BA0A9-6252-75A0-C120-45B0D88A235A}"/>
              </a:ext>
            </a:extLst>
          </p:cNvPr>
          <p:cNvSpPr>
            <a:spLocks noGrp="1"/>
          </p:cNvSpPr>
          <p:nvPr>
            <p:custDataLst>
              <p:tags r:id="rId12"/>
            </p:custDataLst>
          </p:nvPr>
        </p:nvSpPr>
        <p:spPr bwMode="auto">
          <a:xfrm>
            <a:off x="5144724"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63E5F75-F3C1-40DA-BE71-8712E0DF1C96}" type="datetime'''''''''''''S''''''''''''e''''''''''p'''">
              <a:rPr lang="en-US" altLang="en-US" sz="1281"/>
              <a:pPr algn="ctr">
                <a:spcBef>
                  <a:spcPct val="0"/>
                </a:spcBef>
                <a:spcAft>
                  <a:spcPct val="0"/>
                </a:spcAft>
              </a:pPr>
              <a:t>Sep</a:t>
            </a:fld>
            <a:endParaRPr lang="en-US" sz="1281" dirty="0"/>
          </a:p>
        </p:txBody>
      </p:sp>
      <p:sp>
        <p:nvSpPr>
          <p:cNvPr id="292" name="Holder 3">
            <a:extLst>
              <a:ext uri="{FF2B5EF4-FFF2-40B4-BE49-F238E27FC236}">
                <a16:creationId xmlns:a16="http://schemas.microsoft.com/office/drawing/2014/main" id="{F326D750-C406-A659-7AFC-A1698A87C123}"/>
              </a:ext>
            </a:extLst>
          </p:cNvPr>
          <p:cNvSpPr>
            <a:spLocks noGrp="1"/>
          </p:cNvSpPr>
          <p:nvPr>
            <p:custDataLst>
              <p:tags r:id="rId13"/>
            </p:custDataLst>
          </p:nvPr>
        </p:nvSpPr>
        <p:spPr bwMode="auto">
          <a:xfrm>
            <a:off x="5476781" y="1887306"/>
            <a:ext cx="342222"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C8028BD-C81D-463E-A701-2AAD8912F7D3}" type="datetime'O''''''''''''''''''''''''''c''''''''t'">
              <a:rPr lang="en-US" altLang="en-US" sz="1281"/>
              <a:pPr algn="ctr">
                <a:spcBef>
                  <a:spcPct val="0"/>
                </a:spcBef>
                <a:spcAft>
                  <a:spcPct val="0"/>
                </a:spcAft>
              </a:pPr>
              <a:t>Oct</a:t>
            </a:fld>
            <a:endParaRPr lang="en-US" sz="1281" dirty="0"/>
          </a:p>
        </p:txBody>
      </p:sp>
      <p:sp>
        <p:nvSpPr>
          <p:cNvPr id="293" name="Holder 3">
            <a:extLst>
              <a:ext uri="{FF2B5EF4-FFF2-40B4-BE49-F238E27FC236}">
                <a16:creationId xmlns:a16="http://schemas.microsoft.com/office/drawing/2014/main" id="{C0E3F401-6C75-4F3F-6E32-AC3F155685BD}"/>
              </a:ext>
            </a:extLst>
          </p:cNvPr>
          <p:cNvSpPr>
            <a:spLocks noGrp="1"/>
          </p:cNvSpPr>
          <p:nvPr>
            <p:custDataLst>
              <p:tags r:id="rId14"/>
            </p:custDataLst>
          </p:nvPr>
        </p:nvSpPr>
        <p:spPr bwMode="auto">
          <a:xfrm>
            <a:off x="5819004"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ED0EC3C-B7FA-4387-AFCB-CB9BC86FE50F}" type="datetime'''''''''''''''''''''''''''N''ov'''''''''''''''''''''''''''''''">
              <a:rPr lang="en-US" altLang="en-US" sz="1281"/>
              <a:pPr algn="ctr">
                <a:spcBef>
                  <a:spcPct val="0"/>
                </a:spcBef>
                <a:spcAft>
                  <a:spcPct val="0"/>
                </a:spcAft>
              </a:pPr>
              <a:t>Nov</a:t>
            </a:fld>
            <a:endParaRPr lang="en-US" sz="1281" dirty="0"/>
          </a:p>
        </p:txBody>
      </p:sp>
      <p:sp>
        <p:nvSpPr>
          <p:cNvPr id="294" name="Holder 3">
            <a:extLst>
              <a:ext uri="{FF2B5EF4-FFF2-40B4-BE49-F238E27FC236}">
                <a16:creationId xmlns:a16="http://schemas.microsoft.com/office/drawing/2014/main" id="{17552751-C15C-F10B-2982-9370C249B835}"/>
              </a:ext>
            </a:extLst>
          </p:cNvPr>
          <p:cNvSpPr>
            <a:spLocks noGrp="1"/>
          </p:cNvSpPr>
          <p:nvPr>
            <p:custDataLst>
              <p:tags r:id="rId15"/>
            </p:custDataLst>
          </p:nvPr>
        </p:nvSpPr>
        <p:spPr bwMode="auto">
          <a:xfrm>
            <a:off x="6151061"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3E9CE75-6BE2-414B-BC0B-BAAD22A2F762}" type="datetime'''''''''''''''''''''''''''''De''''''c'''''''''''''''''''''">
              <a:rPr lang="en-US" altLang="en-US" sz="1281"/>
              <a:pPr algn="ctr">
                <a:spcBef>
                  <a:spcPct val="0"/>
                </a:spcBef>
                <a:spcAft>
                  <a:spcPct val="0"/>
                </a:spcAft>
              </a:pPr>
              <a:t>Dec</a:t>
            </a:fld>
            <a:endParaRPr lang="en-US" sz="1281" dirty="0"/>
          </a:p>
        </p:txBody>
      </p:sp>
      <p:sp>
        <p:nvSpPr>
          <p:cNvPr id="295" name="Holder 3">
            <a:extLst>
              <a:ext uri="{FF2B5EF4-FFF2-40B4-BE49-F238E27FC236}">
                <a16:creationId xmlns:a16="http://schemas.microsoft.com/office/drawing/2014/main" id="{731D5EFE-0B5A-FBD2-F530-8390EEED4C1B}"/>
              </a:ext>
            </a:extLst>
          </p:cNvPr>
          <p:cNvSpPr>
            <a:spLocks noGrp="1"/>
          </p:cNvSpPr>
          <p:nvPr>
            <p:custDataLst>
              <p:tags r:id="rId16"/>
            </p:custDataLst>
          </p:nvPr>
        </p:nvSpPr>
        <p:spPr bwMode="auto">
          <a:xfrm>
            <a:off x="6494130"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01342DD8-DA21-4D06-92A1-A6EC758AB690}" type="datetime'''J''''''''''''a''''''''''n'''''''''''''''''''''">
              <a:rPr lang="en-US" altLang="en-US" sz="1281"/>
              <a:pPr algn="ctr">
                <a:spcBef>
                  <a:spcPct val="0"/>
                </a:spcBef>
                <a:spcAft>
                  <a:spcPct val="0"/>
                </a:spcAft>
              </a:pPr>
              <a:t>Jan</a:t>
            </a:fld>
            <a:endParaRPr lang="en-US" sz="1281" dirty="0"/>
          </a:p>
        </p:txBody>
      </p:sp>
      <p:sp>
        <p:nvSpPr>
          <p:cNvPr id="296" name="Holder 3">
            <a:extLst>
              <a:ext uri="{FF2B5EF4-FFF2-40B4-BE49-F238E27FC236}">
                <a16:creationId xmlns:a16="http://schemas.microsoft.com/office/drawing/2014/main" id="{9F24E5A7-5F0B-449F-7CFD-5D6A92FC5873}"/>
              </a:ext>
            </a:extLst>
          </p:cNvPr>
          <p:cNvSpPr>
            <a:spLocks noGrp="1"/>
          </p:cNvSpPr>
          <p:nvPr>
            <p:custDataLst>
              <p:tags r:id="rId17"/>
            </p:custDataLst>
          </p:nvPr>
        </p:nvSpPr>
        <p:spPr bwMode="auto">
          <a:xfrm>
            <a:off x="6837200" y="1887306"/>
            <a:ext cx="309186"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86C50874-4EDF-42C9-B583-74678247788E}" type="datetime'''''''F''''''''''''''''e''b'''''''''''''''''''''''''''''''">
              <a:rPr lang="en-US" altLang="en-US" sz="1281"/>
              <a:pPr algn="ctr">
                <a:spcBef>
                  <a:spcPct val="0"/>
                </a:spcBef>
                <a:spcAft>
                  <a:spcPct val="0"/>
                </a:spcAft>
              </a:pPr>
              <a:t>Feb</a:t>
            </a:fld>
            <a:endParaRPr lang="en-US" sz="1281" dirty="0"/>
          </a:p>
        </p:txBody>
      </p:sp>
      <p:sp>
        <p:nvSpPr>
          <p:cNvPr id="297" name="Holder 3">
            <a:extLst>
              <a:ext uri="{FF2B5EF4-FFF2-40B4-BE49-F238E27FC236}">
                <a16:creationId xmlns:a16="http://schemas.microsoft.com/office/drawing/2014/main" id="{02029BD1-5B10-1AE0-550C-37E0B3627A22}"/>
              </a:ext>
            </a:extLst>
          </p:cNvPr>
          <p:cNvSpPr>
            <a:spLocks noGrp="1"/>
          </p:cNvSpPr>
          <p:nvPr>
            <p:custDataLst>
              <p:tags r:id="rId18"/>
            </p:custDataLst>
          </p:nvPr>
        </p:nvSpPr>
        <p:spPr bwMode="auto">
          <a:xfrm>
            <a:off x="7146385"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7576A35-4132-4481-A536-56891AE3A589}" type="datetime'''''''M''''a''''''''''''''''''r'''''''''">
              <a:rPr lang="en-US" altLang="en-US" sz="1281"/>
              <a:pPr algn="ctr">
                <a:spcBef>
                  <a:spcPct val="0"/>
                </a:spcBef>
                <a:spcAft>
                  <a:spcPct val="0"/>
                </a:spcAft>
              </a:pPr>
              <a:t>Mar</a:t>
            </a:fld>
            <a:endParaRPr lang="en-US" sz="1281" dirty="0"/>
          </a:p>
        </p:txBody>
      </p:sp>
      <p:sp>
        <p:nvSpPr>
          <p:cNvPr id="298" name="Holder 3">
            <a:extLst>
              <a:ext uri="{FF2B5EF4-FFF2-40B4-BE49-F238E27FC236}">
                <a16:creationId xmlns:a16="http://schemas.microsoft.com/office/drawing/2014/main" id="{84CC6609-ED20-FBDA-1D74-3E2707AC9825}"/>
              </a:ext>
            </a:extLst>
          </p:cNvPr>
          <p:cNvSpPr>
            <a:spLocks noGrp="1"/>
          </p:cNvSpPr>
          <p:nvPr>
            <p:custDataLst>
              <p:tags r:id="rId19"/>
            </p:custDataLst>
          </p:nvPr>
        </p:nvSpPr>
        <p:spPr bwMode="auto">
          <a:xfrm>
            <a:off x="7489455"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8316C5B5-7603-48A1-B5B3-EC6A6618E105}" type="datetime'''''''''''A''''''''''''p''''r'''''''''">
              <a:rPr lang="en-US" altLang="en-US" sz="1281"/>
              <a:pPr algn="ctr">
                <a:spcBef>
                  <a:spcPct val="0"/>
                </a:spcBef>
                <a:spcAft>
                  <a:spcPct val="0"/>
                </a:spcAft>
              </a:pPr>
              <a:t>Apr</a:t>
            </a:fld>
            <a:endParaRPr lang="en-US" sz="1281" dirty="0"/>
          </a:p>
        </p:txBody>
      </p:sp>
      <p:sp>
        <p:nvSpPr>
          <p:cNvPr id="299" name="Holder 3">
            <a:extLst>
              <a:ext uri="{FF2B5EF4-FFF2-40B4-BE49-F238E27FC236}">
                <a16:creationId xmlns:a16="http://schemas.microsoft.com/office/drawing/2014/main" id="{BEBECD93-871F-6BEC-8377-85E25CC55CD3}"/>
              </a:ext>
            </a:extLst>
          </p:cNvPr>
          <p:cNvSpPr>
            <a:spLocks noGrp="1"/>
          </p:cNvSpPr>
          <p:nvPr>
            <p:custDataLst>
              <p:tags r:id="rId20"/>
            </p:custDataLst>
          </p:nvPr>
        </p:nvSpPr>
        <p:spPr bwMode="auto">
          <a:xfrm>
            <a:off x="7821512"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5082F9CE-0E50-4EBC-9D5A-284A0E7561A7}" type="datetime'''''''''''M''''''''''''''''''''''''''''''''''a''''''y'''''''''">
              <a:rPr lang="en-US" altLang="en-US" sz="1281"/>
              <a:pPr algn="ctr">
                <a:spcBef>
                  <a:spcPct val="0"/>
                </a:spcBef>
                <a:spcAft>
                  <a:spcPct val="0"/>
                </a:spcAft>
              </a:pPr>
              <a:t>May</a:t>
            </a:fld>
            <a:endParaRPr lang="en-US" sz="1281" dirty="0"/>
          </a:p>
        </p:txBody>
      </p:sp>
      <p:sp>
        <p:nvSpPr>
          <p:cNvPr id="300" name="Holder 3">
            <a:extLst>
              <a:ext uri="{FF2B5EF4-FFF2-40B4-BE49-F238E27FC236}">
                <a16:creationId xmlns:a16="http://schemas.microsoft.com/office/drawing/2014/main" id="{63CDB9E3-DB09-BBA7-8147-B4A371BA97FC}"/>
              </a:ext>
            </a:extLst>
          </p:cNvPr>
          <p:cNvSpPr>
            <a:spLocks noGrp="1"/>
          </p:cNvSpPr>
          <p:nvPr>
            <p:custDataLst>
              <p:tags r:id="rId21"/>
            </p:custDataLst>
          </p:nvPr>
        </p:nvSpPr>
        <p:spPr bwMode="auto">
          <a:xfrm>
            <a:off x="8164583" y="1887306"/>
            <a:ext cx="33121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292F18A-649A-474C-A817-64651B18AF5C}" type="datetime'''''''J''''''''''''''''''''''''''''''''u''''''n'''''''''''''''">
              <a:rPr lang="en-US" altLang="en-US" sz="1281"/>
              <a:pPr algn="ctr">
                <a:spcBef>
                  <a:spcPct val="0"/>
                </a:spcBef>
                <a:spcAft>
                  <a:spcPct val="0"/>
                </a:spcAft>
              </a:pPr>
              <a:t>Jun</a:t>
            </a:fld>
            <a:endParaRPr lang="en-US" sz="1281" dirty="0"/>
          </a:p>
        </p:txBody>
      </p:sp>
      <p:sp>
        <p:nvSpPr>
          <p:cNvPr id="83" name="Holder 3">
            <a:extLst>
              <a:ext uri="{FF2B5EF4-FFF2-40B4-BE49-F238E27FC236}">
                <a16:creationId xmlns:a16="http://schemas.microsoft.com/office/drawing/2014/main" id="{41DE7A8C-2B6A-FAD4-D231-36FDBBDF216E}"/>
              </a:ext>
            </a:extLst>
          </p:cNvPr>
          <p:cNvSpPr>
            <a:spLocks noGrp="1"/>
          </p:cNvSpPr>
          <p:nvPr>
            <p:custDataLst>
              <p:tags r:id="rId22"/>
            </p:custDataLst>
          </p:nvPr>
        </p:nvSpPr>
        <p:spPr bwMode="auto">
          <a:xfrm>
            <a:off x="8495792"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65910C4-15B0-4F76-B5DF-CB3E777DB169}" type="datetime'''''''''''''''''J''''''''''''''u''''''l'''''''''''''''''''''''">
              <a:rPr lang="en-US" altLang="en-US" sz="1281"/>
              <a:pPr/>
              <a:t>Jul</a:t>
            </a:fld>
            <a:endParaRPr lang="en-US" sz="1281" dirty="0"/>
          </a:p>
        </p:txBody>
      </p:sp>
      <p:sp>
        <p:nvSpPr>
          <p:cNvPr id="85" name="Holder 3">
            <a:extLst>
              <a:ext uri="{FF2B5EF4-FFF2-40B4-BE49-F238E27FC236}">
                <a16:creationId xmlns:a16="http://schemas.microsoft.com/office/drawing/2014/main" id="{1EDFC033-E6BE-1482-D72F-5728CED8E715}"/>
              </a:ext>
            </a:extLst>
          </p:cNvPr>
          <p:cNvSpPr>
            <a:spLocks noGrp="1"/>
          </p:cNvSpPr>
          <p:nvPr>
            <p:custDataLst>
              <p:tags r:id="rId23"/>
            </p:custDataLst>
          </p:nvPr>
        </p:nvSpPr>
        <p:spPr bwMode="auto">
          <a:xfrm>
            <a:off x="8838861"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AA34311-8DE8-4242-B417-30945C18D0B6}" type="datetime'''''''''''''''A''''''ug'''''''''''''''''''''''''">
              <a:rPr lang="en-US" altLang="en-US" sz="1281"/>
              <a:pPr/>
              <a:t>Aug</a:t>
            </a:fld>
            <a:endParaRPr lang="en-US" sz="1281" dirty="0"/>
          </a:p>
        </p:txBody>
      </p:sp>
      <p:sp>
        <p:nvSpPr>
          <p:cNvPr id="86" name="Holder 3">
            <a:extLst>
              <a:ext uri="{FF2B5EF4-FFF2-40B4-BE49-F238E27FC236}">
                <a16:creationId xmlns:a16="http://schemas.microsoft.com/office/drawing/2014/main" id="{C76D8F3A-253D-A5A1-0F76-F233CB7FC1DE}"/>
              </a:ext>
            </a:extLst>
          </p:cNvPr>
          <p:cNvSpPr>
            <a:spLocks noGrp="1"/>
          </p:cNvSpPr>
          <p:nvPr>
            <p:custDataLst>
              <p:tags r:id="rId24"/>
            </p:custDataLst>
          </p:nvPr>
        </p:nvSpPr>
        <p:spPr bwMode="auto">
          <a:xfrm>
            <a:off x="9181931"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E2A2EA2-E7F8-429A-AF10-78C17B38F359}" type="datetime'''''''''''''''''''''''''S''''''''''''''''''e''''''''p'''''''">
              <a:rPr lang="en-US" altLang="en-US" sz="1281"/>
              <a:pPr/>
              <a:t>Sep</a:t>
            </a:fld>
            <a:endParaRPr lang="en-US" sz="1281" dirty="0"/>
          </a:p>
        </p:txBody>
      </p:sp>
      <p:sp>
        <p:nvSpPr>
          <p:cNvPr id="89" name="Holder 3">
            <a:extLst>
              <a:ext uri="{FF2B5EF4-FFF2-40B4-BE49-F238E27FC236}">
                <a16:creationId xmlns:a16="http://schemas.microsoft.com/office/drawing/2014/main" id="{D6BC4CF7-8856-EC29-8026-634A08C40AB4}"/>
              </a:ext>
            </a:extLst>
          </p:cNvPr>
          <p:cNvSpPr>
            <a:spLocks noGrp="1"/>
          </p:cNvSpPr>
          <p:nvPr>
            <p:custDataLst>
              <p:tags r:id="rId25"/>
            </p:custDataLst>
          </p:nvPr>
        </p:nvSpPr>
        <p:spPr bwMode="auto">
          <a:xfrm>
            <a:off x="9513988" y="1887306"/>
            <a:ext cx="342222"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1A70713-2671-4698-96FC-4A0B02B4A645}" type="datetime'''''''''''''''O''''''''''''c''''t'''''''''">
              <a:rPr lang="en-US" altLang="en-US" sz="1281"/>
              <a:pPr/>
              <a:t>Oct</a:t>
            </a:fld>
            <a:endParaRPr lang="en-US" sz="1281" dirty="0"/>
          </a:p>
        </p:txBody>
      </p:sp>
      <p:sp>
        <p:nvSpPr>
          <p:cNvPr id="94" name="Holder 3">
            <a:extLst>
              <a:ext uri="{FF2B5EF4-FFF2-40B4-BE49-F238E27FC236}">
                <a16:creationId xmlns:a16="http://schemas.microsoft.com/office/drawing/2014/main" id="{2DF393B0-89A6-480B-7542-84EFBF7C14CF}"/>
              </a:ext>
            </a:extLst>
          </p:cNvPr>
          <p:cNvSpPr>
            <a:spLocks noGrp="1"/>
          </p:cNvSpPr>
          <p:nvPr>
            <p:custDataLst>
              <p:tags r:id="rId26"/>
            </p:custDataLst>
          </p:nvPr>
        </p:nvSpPr>
        <p:spPr bwMode="auto">
          <a:xfrm>
            <a:off x="9856211" y="1887306"/>
            <a:ext cx="332057"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D1E2BE1-EE77-457B-808E-65F962D3A2C1}" type="datetime'''''''''''''''''''''''''No''''''''''''''''''''''''v'''''''">
              <a:rPr lang="en-US" altLang="en-US" sz="1281"/>
              <a:pPr/>
              <a:t>Nov</a:t>
            </a:fld>
            <a:endParaRPr lang="en-US" sz="1281" dirty="0"/>
          </a:p>
        </p:txBody>
      </p:sp>
      <p:sp>
        <p:nvSpPr>
          <p:cNvPr id="95" name="Holder 3">
            <a:extLst>
              <a:ext uri="{FF2B5EF4-FFF2-40B4-BE49-F238E27FC236}">
                <a16:creationId xmlns:a16="http://schemas.microsoft.com/office/drawing/2014/main" id="{FD4A6844-CEC1-F8FE-32DE-E6FCCE5084CD}"/>
              </a:ext>
            </a:extLst>
          </p:cNvPr>
          <p:cNvSpPr>
            <a:spLocks noGrp="1"/>
          </p:cNvSpPr>
          <p:nvPr>
            <p:custDataLst>
              <p:tags r:id="rId27"/>
            </p:custDataLst>
          </p:nvPr>
        </p:nvSpPr>
        <p:spPr bwMode="auto">
          <a:xfrm>
            <a:off x="10188268" y="1887306"/>
            <a:ext cx="343070" cy="23887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2024" rIns="0" bIns="22024"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2D022B15-5B3D-463F-95A5-E89C5FA28F93}" type="datetime'''''''''''''''''''''''''''''''D''''''''''''''''''''''e''c'">
              <a:rPr lang="en-US" altLang="en-US" sz="1281"/>
              <a:pPr/>
              <a:t>Dec</a:t>
            </a:fld>
            <a:endParaRPr lang="en-US" sz="1281" dirty="0"/>
          </a:p>
        </p:txBody>
      </p:sp>
      <p:cxnSp>
        <p:nvCxnSpPr>
          <p:cNvPr id="87" name="Straight Connector 86">
            <a:extLst>
              <a:ext uri="{FF2B5EF4-FFF2-40B4-BE49-F238E27FC236}">
                <a16:creationId xmlns:a16="http://schemas.microsoft.com/office/drawing/2014/main" id="{D9817592-96B7-A371-940E-2C1305FB1765}"/>
              </a:ext>
            </a:extLst>
          </p:cNvPr>
          <p:cNvCxnSpPr/>
          <p:nvPr>
            <p:custDataLst>
              <p:tags r:id="rId28"/>
            </p:custDataLst>
          </p:nvPr>
        </p:nvCxnSpPr>
        <p:spPr bwMode="auto">
          <a:xfrm>
            <a:off x="2456923" y="2126184"/>
            <a:ext cx="0" cy="278775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B094AEF-3820-8FAD-D334-B70736FB17B6}"/>
              </a:ext>
            </a:extLst>
          </p:cNvPr>
          <p:cNvCxnSpPr/>
          <p:nvPr>
            <p:custDataLst>
              <p:tags r:id="rId29"/>
            </p:custDataLst>
          </p:nvPr>
        </p:nvCxnSpPr>
        <p:spPr bwMode="auto">
          <a:xfrm>
            <a:off x="1592049" y="2126184"/>
            <a:ext cx="0" cy="278775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A125F4E1-3F28-59B6-463A-7B7B60E9F751}"/>
              </a:ext>
            </a:extLst>
          </p:cNvPr>
          <p:cNvCxnSpPr/>
          <p:nvPr>
            <p:custDataLst>
              <p:tags r:id="rId30"/>
            </p:custDataLst>
          </p:nvPr>
        </p:nvCxnSpPr>
        <p:spPr bwMode="auto">
          <a:xfrm>
            <a:off x="6494130" y="2126184"/>
            <a:ext cx="0" cy="2787757"/>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F18FC7B-D3AC-C6F8-C459-F6B628F7F4DF}"/>
              </a:ext>
            </a:extLst>
          </p:cNvPr>
          <p:cNvCxnSpPr/>
          <p:nvPr>
            <p:custDataLst>
              <p:tags r:id="rId31"/>
            </p:custDataLst>
          </p:nvPr>
        </p:nvCxnSpPr>
        <p:spPr bwMode="auto">
          <a:xfrm>
            <a:off x="10531337" y="2126184"/>
            <a:ext cx="0" cy="278775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9798718E-3337-8E51-3582-5AB763931939}"/>
              </a:ext>
            </a:extLst>
          </p:cNvPr>
          <p:cNvCxnSpPr/>
          <p:nvPr>
            <p:custDataLst>
              <p:tags r:id="rId32"/>
            </p:custDataLst>
          </p:nvPr>
        </p:nvCxnSpPr>
        <p:spPr bwMode="auto">
          <a:xfrm>
            <a:off x="6837200"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5C300381-E235-5E26-A77C-0252A00B2E6D}"/>
              </a:ext>
            </a:extLst>
          </p:cNvPr>
          <p:cNvCxnSpPr/>
          <p:nvPr>
            <p:custDataLst>
              <p:tags r:id="rId33"/>
            </p:custDataLst>
          </p:nvPr>
        </p:nvCxnSpPr>
        <p:spPr bwMode="auto">
          <a:xfrm>
            <a:off x="7146385"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A6399FE-C8E9-FAC0-FB3F-3EFD97E33B39}"/>
              </a:ext>
            </a:extLst>
          </p:cNvPr>
          <p:cNvCxnSpPr/>
          <p:nvPr>
            <p:custDataLst>
              <p:tags r:id="rId34"/>
            </p:custDataLst>
          </p:nvPr>
        </p:nvCxnSpPr>
        <p:spPr bwMode="auto">
          <a:xfrm>
            <a:off x="7489455"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6FE93B38-2A92-F50D-C033-3DBE33EBB48E}"/>
              </a:ext>
            </a:extLst>
          </p:cNvPr>
          <p:cNvCxnSpPr/>
          <p:nvPr>
            <p:custDataLst>
              <p:tags r:id="rId35"/>
            </p:custDataLst>
          </p:nvPr>
        </p:nvCxnSpPr>
        <p:spPr bwMode="auto">
          <a:xfrm>
            <a:off x="7821512"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0AB0020B-C660-CC7C-6C32-DC87E9524C7B}"/>
              </a:ext>
            </a:extLst>
          </p:cNvPr>
          <p:cNvCxnSpPr/>
          <p:nvPr>
            <p:custDataLst>
              <p:tags r:id="rId36"/>
            </p:custDataLst>
          </p:nvPr>
        </p:nvCxnSpPr>
        <p:spPr bwMode="auto">
          <a:xfrm>
            <a:off x="8164582"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30346C2-839C-7171-0133-63F7D57CE672}"/>
              </a:ext>
            </a:extLst>
          </p:cNvPr>
          <p:cNvCxnSpPr/>
          <p:nvPr>
            <p:custDataLst>
              <p:tags r:id="rId37"/>
            </p:custDataLst>
          </p:nvPr>
        </p:nvCxnSpPr>
        <p:spPr bwMode="auto">
          <a:xfrm>
            <a:off x="8838861"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C212258-7BC1-8226-B932-215E943AA0C7}"/>
              </a:ext>
            </a:extLst>
          </p:cNvPr>
          <p:cNvCxnSpPr/>
          <p:nvPr>
            <p:custDataLst>
              <p:tags r:id="rId38"/>
            </p:custDataLst>
          </p:nvPr>
        </p:nvCxnSpPr>
        <p:spPr bwMode="auto">
          <a:xfrm>
            <a:off x="9181931"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8F5AC02F-80CA-E146-073B-DD83891AB249}"/>
              </a:ext>
            </a:extLst>
          </p:cNvPr>
          <p:cNvCxnSpPr/>
          <p:nvPr>
            <p:custDataLst>
              <p:tags r:id="rId39"/>
            </p:custDataLst>
          </p:nvPr>
        </p:nvCxnSpPr>
        <p:spPr bwMode="auto">
          <a:xfrm>
            <a:off x="9513988"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585104E8-C087-F494-A3B8-3913CD3A1C69}"/>
              </a:ext>
            </a:extLst>
          </p:cNvPr>
          <p:cNvCxnSpPr/>
          <p:nvPr>
            <p:custDataLst>
              <p:tags r:id="rId40"/>
            </p:custDataLst>
          </p:nvPr>
        </p:nvCxnSpPr>
        <p:spPr bwMode="auto">
          <a:xfrm>
            <a:off x="9856210"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0DE58CEF-10F7-68C8-3C0F-AD686362B20B}"/>
              </a:ext>
            </a:extLst>
          </p:cNvPr>
          <p:cNvCxnSpPr/>
          <p:nvPr>
            <p:custDataLst>
              <p:tags r:id="rId41"/>
            </p:custDataLst>
          </p:nvPr>
        </p:nvCxnSpPr>
        <p:spPr bwMode="auto">
          <a:xfrm>
            <a:off x="10188268"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A9C6BCBD-17D9-E308-0480-033765663B30}"/>
              </a:ext>
            </a:extLst>
          </p:cNvPr>
          <p:cNvCxnSpPr/>
          <p:nvPr>
            <p:custDataLst>
              <p:tags r:id="rId42"/>
            </p:custDataLst>
          </p:nvPr>
        </p:nvCxnSpPr>
        <p:spPr bwMode="auto">
          <a:xfrm>
            <a:off x="8495792"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BE5E4EA-6907-9E27-49B2-8C6969DD1683}"/>
              </a:ext>
            </a:extLst>
          </p:cNvPr>
          <p:cNvCxnSpPr/>
          <p:nvPr>
            <p:custDataLst>
              <p:tags r:id="rId43"/>
            </p:custDataLst>
          </p:nvPr>
        </p:nvCxnSpPr>
        <p:spPr bwMode="auto">
          <a:xfrm>
            <a:off x="4801654"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57D4730-A67C-C247-864D-EF9CA834F270}"/>
              </a:ext>
            </a:extLst>
          </p:cNvPr>
          <p:cNvCxnSpPr/>
          <p:nvPr>
            <p:custDataLst>
              <p:tags r:id="rId44"/>
            </p:custDataLst>
          </p:nvPr>
        </p:nvCxnSpPr>
        <p:spPr bwMode="auto">
          <a:xfrm>
            <a:off x="2799993"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7E1B5B93-AF18-3858-5B84-F35F9E23748B}"/>
              </a:ext>
            </a:extLst>
          </p:cNvPr>
          <p:cNvCxnSpPr/>
          <p:nvPr>
            <p:custDataLst>
              <p:tags r:id="rId45"/>
            </p:custDataLst>
          </p:nvPr>
        </p:nvCxnSpPr>
        <p:spPr bwMode="auto">
          <a:xfrm>
            <a:off x="3109178"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F54C04ED-7722-E24B-3C94-EAB9D8C23D65}"/>
              </a:ext>
            </a:extLst>
          </p:cNvPr>
          <p:cNvCxnSpPr/>
          <p:nvPr>
            <p:custDataLst>
              <p:tags r:id="rId46"/>
            </p:custDataLst>
          </p:nvPr>
        </p:nvCxnSpPr>
        <p:spPr bwMode="auto">
          <a:xfrm>
            <a:off x="3452248"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C0F83E8A-82A1-A824-6E05-390CE620C2FE}"/>
              </a:ext>
            </a:extLst>
          </p:cNvPr>
          <p:cNvCxnSpPr/>
          <p:nvPr>
            <p:custDataLst>
              <p:tags r:id="rId47"/>
            </p:custDataLst>
          </p:nvPr>
        </p:nvCxnSpPr>
        <p:spPr bwMode="auto">
          <a:xfrm>
            <a:off x="3784305"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4F993EC6-7A0B-9557-1A61-19933481CAD7}"/>
              </a:ext>
            </a:extLst>
          </p:cNvPr>
          <p:cNvCxnSpPr/>
          <p:nvPr>
            <p:custDataLst>
              <p:tags r:id="rId48"/>
            </p:custDataLst>
          </p:nvPr>
        </p:nvCxnSpPr>
        <p:spPr bwMode="auto">
          <a:xfrm>
            <a:off x="4127375"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402E6903-39AB-5CB8-56A4-3735B0B674DB}"/>
              </a:ext>
            </a:extLst>
          </p:cNvPr>
          <p:cNvCxnSpPr/>
          <p:nvPr>
            <p:custDataLst>
              <p:tags r:id="rId49"/>
            </p:custDataLst>
          </p:nvPr>
        </p:nvCxnSpPr>
        <p:spPr bwMode="auto">
          <a:xfrm>
            <a:off x="4458585"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8F44E9ED-75FC-C8AC-A073-0CA639733C10}"/>
              </a:ext>
            </a:extLst>
          </p:cNvPr>
          <p:cNvCxnSpPr/>
          <p:nvPr>
            <p:custDataLst>
              <p:tags r:id="rId50"/>
            </p:custDataLst>
          </p:nvPr>
        </p:nvCxnSpPr>
        <p:spPr bwMode="auto">
          <a:xfrm>
            <a:off x="5144724"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B45F8FD2-B3EA-FC88-348E-998D4FCF2C81}"/>
              </a:ext>
            </a:extLst>
          </p:cNvPr>
          <p:cNvCxnSpPr/>
          <p:nvPr>
            <p:custDataLst>
              <p:tags r:id="rId51"/>
            </p:custDataLst>
          </p:nvPr>
        </p:nvCxnSpPr>
        <p:spPr bwMode="auto">
          <a:xfrm>
            <a:off x="5476781"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6C4DC9B4-8AED-355F-41E0-4EF7FA596100}"/>
              </a:ext>
            </a:extLst>
          </p:cNvPr>
          <p:cNvCxnSpPr/>
          <p:nvPr>
            <p:custDataLst>
              <p:tags r:id="rId52"/>
            </p:custDataLst>
          </p:nvPr>
        </p:nvCxnSpPr>
        <p:spPr bwMode="auto">
          <a:xfrm>
            <a:off x="5819003"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8F98FCFF-7E53-3F02-525C-789733277FA8}"/>
              </a:ext>
            </a:extLst>
          </p:cNvPr>
          <p:cNvCxnSpPr/>
          <p:nvPr>
            <p:custDataLst>
              <p:tags r:id="rId53"/>
            </p:custDataLst>
          </p:nvPr>
        </p:nvCxnSpPr>
        <p:spPr bwMode="auto">
          <a:xfrm>
            <a:off x="6151061" y="2126184"/>
            <a:ext cx="0" cy="27877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2627F2B9-E99D-72B3-36C7-C73421DD7D41}"/>
              </a:ext>
            </a:extLst>
          </p:cNvPr>
          <p:cNvCxnSpPr/>
          <p:nvPr>
            <p:custDataLst>
              <p:tags r:id="rId54"/>
            </p:custDataLst>
          </p:nvPr>
        </p:nvCxnSpPr>
        <p:spPr bwMode="auto">
          <a:xfrm>
            <a:off x="1592049" y="4913940"/>
            <a:ext cx="89392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C41173B-7468-212B-EE4E-3A4E7B78A967}"/>
              </a:ext>
            </a:extLst>
          </p:cNvPr>
          <p:cNvCxnSpPr/>
          <p:nvPr>
            <p:custDataLst>
              <p:tags r:id="rId55"/>
            </p:custDataLst>
          </p:nvPr>
        </p:nvCxnSpPr>
        <p:spPr bwMode="auto">
          <a:xfrm>
            <a:off x="2711048" y="2126183"/>
            <a:ext cx="0" cy="2877548"/>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0E009B8-67BC-3773-3FB3-D67CD8296936}"/>
              </a:ext>
            </a:extLst>
          </p:cNvPr>
          <p:cNvCxnSpPr/>
          <p:nvPr>
            <p:custDataLst>
              <p:tags r:id="rId56"/>
            </p:custDataLst>
          </p:nvPr>
        </p:nvCxnSpPr>
        <p:spPr bwMode="auto">
          <a:xfrm>
            <a:off x="1592049" y="2126183"/>
            <a:ext cx="89392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1" name="Holder 3">
            <a:extLst>
              <a:ext uri="{FF2B5EF4-FFF2-40B4-BE49-F238E27FC236}">
                <a16:creationId xmlns:a16="http://schemas.microsoft.com/office/drawing/2014/main" id="{4684901F-25E4-2A91-5BFB-29DA55FFEC82}"/>
              </a:ext>
            </a:extLst>
          </p:cNvPr>
          <p:cNvSpPr>
            <a:spLocks noGrp="1"/>
          </p:cNvSpPr>
          <p:nvPr>
            <p:custDataLst>
              <p:tags r:id="rId57"/>
            </p:custDataLst>
          </p:nvPr>
        </p:nvSpPr>
        <p:spPr bwMode="auto">
          <a:xfrm>
            <a:off x="5053239" y="3619594"/>
            <a:ext cx="710705" cy="435402"/>
          </a:xfrm>
          <a:prstGeom prst="chevron">
            <a:avLst>
              <a:gd name="adj" fmla="val 18288"/>
            </a:avLst>
          </a:prstGeom>
          <a:solidFill>
            <a:srgbClr val="E5E5E5"/>
          </a:solidFill>
          <a:ln w="9525" cmpd="sng" algn="ctr">
            <a:solidFill>
              <a:schemeClr val="tx1"/>
            </a:solidFill>
            <a:prstDash val="dash"/>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sz="854" dirty="0"/>
              <a:t>Collect Data</a:t>
            </a:r>
          </a:p>
        </p:txBody>
      </p:sp>
      <p:sp>
        <p:nvSpPr>
          <p:cNvPr id="318" name="Holder 3">
            <a:extLst>
              <a:ext uri="{FF2B5EF4-FFF2-40B4-BE49-F238E27FC236}">
                <a16:creationId xmlns:a16="http://schemas.microsoft.com/office/drawing/2014/main" id="{9839C623-C353-1742-DCB9-5FD1ED158B31}"/>
              </a:ext>
            </a:extLst>
          </p:cNvPr>
          <p:cNvSpPr>
            <a:spLocks noGrp="1"/>
          </p:cNvSpPr>
          <p:nvPr>
            <p:custDataLst>
              <p:tags r:id="rId58"/>
            </p:custDataLst>
          </p:nvPr>
        </p:nvSpPr>
        <p:spPr bwMode="auto">
          <a:xfrm>
            <a:off x="4522117" y="3619594"/>
            <a:ext cx="611595" cy="435402"/>
          </a:xfrm>
          <a:prstGeom prst="chevron">
            <a:avLst>
              <a:gd name="adj" fmla="val 18288"/>
            </a:avLst>
          </a:prstGeom>
          <a:solidFill>
            <a:srgbClr val="E5E5E5"/>
          </a:solidFill>
          <a:ln w="9525" cmpd="sng" algn="ctr">
            <a:solidFill>
              <a:schemeClr val="tx1"/>
            </a:solidFill>
            <a:prstDash val="dash"/>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a:t>Set-up </a:t>
            </a:r>
            <a:r>
              <a:rPr lang="en-US" altLang="en-US" sz="854" dirty="0"/>
              <a:t>Survey</a:t>
            </a:r>
            <a:endParaRPr lang="en-US" sz="854" dirty="0"/>
          </a:p>
        </p:txBody>
      </p:sp>
      <p:sp>
        <p:nvSpPr>
          <p:cNvPr id="122" name="Holder 3">
            <a:extLst>
              <a:ext uri="{FF2B5EF4-FFF2-40B4-BE49-F238E27FC236}">
                <a16:creationId xmlns:a16="http://schemas.microsoft.com/office/drawing/2014/main" id="{C1C7EE82-572D-EAE6-844C-87EEB39EE754}"/>
              </a:ext>
            </a:extLst>
          </p:cNvPr>
          <p:cNvSpPr>
            <a:spLocks noGrp="1"/>
          </p:cNvSpPr>
          <p:nvPr>
            <p:custDataLst>
              <p:tags r:id="rId59"/>
            </p:custDataLst>
          </p:nvPr>
        </p:nvSpPr>
        <p:spPr bwMode="auto">
          <a:xfrm>
            <a:off x="5683470" y="3619594"/>
            <a:ext cx="467591" cy="435402"/>
          </a:xfrm>
          <a:prstGeom prst="chevron">
            <a:avLst>
              <a:gd name="adj" fmla="val 18288"/>
            </a:avLst>
          </a:prstGeom>
          <a:solidFill>
            <a:srgbClr val="333333"/>
          </a:solidFill>
          <a:ln w="9525" cmpd="sng" algn="ctr">
            <a:solidFill>
              <a:schemeClr val="tx1"/>
            </a:solidFill>
          </a:ln>
          <a:effectLst/>
        </p:spPr>
        <p:txBody>
          <a:bodyPr vert="horz" wrap="non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sz="854">
                <a:solidFill>
                  <a:schemeClr val="bg1"/>
                </a:solidFill>
              </a:rPr>
              <a:t>Analyze </a:t>
            </a:r>
            <a:fld id="{3D66F14C-F220-4BFA-9E61-B644FAD9A950}" type="datetime' '">
              <a:rPr lang="en-US" altLang="en-US" sz="854">
                <a:solidFill>
                  <a:schemeClr val="bg1"/>
                </a:solidFill>
              </a:rPr>
              <a:pPr/>
              <a:t> </a:t>
            </a:fld>
            <a:br>
              <a:rPr lang="en-US" altLang="en-US" sz="854">
                <a:solidFill>
                  <a:schemeClr val="bg1"/>
                </a:solidFill>
              </a:rPr>
            </a:br>
            <a:r>
              <a:rPr lang="en-US" sz="854">
                <a:solidFill>
                  <a:schemeClr val="bg1"/>
                </a:solidFill>
              </a:rPr>
              <a:t>the </a:t>
            </a:r>
            <a:fld id="{BA1ED78E-BEE5-46EF-8524-CF28D7A2DDC1}" type="datetime' '">
              <a:rPr lang="en-US" altLang="en-US" sz="854">
                <a:solidFill>
                  <a:schemeClr val="bg1"/>
                </a:solidFill>
              </a:rPr>
              <a:pPr/>
              <a:t> </a:t>
            </a:fld>
            <a:br>
              <a:rPr lang="en-US" altLang="en-US" sz="854">
                <a:solidFill>
                  <a:schemeClr val="bg1"/>
                </a:solidFill>
              </a:rPr>
            </a:br>
            <a:r>
              <a:rPr lang="en-US" sz="854">
                <a:solidFill>
                  <a:schemeClr val="bg1"/>
                </a:solidFill>
              </a:rPr>
              <a:t>Results</a:t>
            </a:r>
            <a:endParaRPr lang="en-US" sz="854" dirty="0">
              <a:solidFill>
                <a:schemeClr val="bg1"/>
              </a:solidFill>
            </a:endParaRPr>
          </a:p>
        </p:txBody>
      </p:sp>
      <p:sp>
        <p:nvSpPr>
          <p:cNvPr id="340" name="Holder 3">
            <a:extLst>
              <a:ext uri="{FF2B5EF4-FFF2-40B4-BE49-F238E27FC236}">
                <a16:creationId xmlns:a16="http://schemas.microsoft.com/office/drawing/2014/main" id="{51D1ED6D-B37B-7213-C036-95A62C0F0408}"/>
              </a:ext>
            </a:extLst>
          </p:cNvPr>
          <p:cNvSpPr>
            <a:spLocks noGrp="1"/>
          </p:cNvSpPr>
          <p:nvPr>
            <p:custDataLst>
              <p:tags r:id="rId60"/>
            </p:custDataLst>
          </p:nvPr>
        </p:nvSpPr>
        <p:spPr bwMode="auto">
          <a:xfrm>
            <a:off x="8404307" y="4253214"/>
            <a:ext cx="1972014" cy="435402"/>
          </a:xfrm>
          <a:prstGeom prst="chevron">
            <a:avLst>
              <a:gd name="adj" fmla="val 18288"/>
            </a:avLst>
          </a:prstGeom>
          <a:solidFill>
            <a:srgbClr val="333333"/>
          </a:solidFill>
          <a:ln w="9525" cmpd="sng" algn="ctr">
            <a:solidFill>
              <a:schemeClr val="tx1"/>
            </a:solidFill>
          </a:ln>
          <a:effectLst/>
        </p:spPr>
        <p:txBody>
          <a:bodyPr vert="horz" wrap="non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dirty="0">
                <a:solidFill>
                  <a:schemeClr val="bg1"/>
                </a:solidFill>
              </a:rPr>
              <a:t>Finalize Study</a:t>
            </a:r>
            <a:endParaRPr lang="en-US" sz="854" dirty="0">
              <a:solidFill>
                <a:schemeClr val="bg1"/>
              </a:solidFill>
            </a:endParaRPr>
          </a:p>
        </p:txBody>
      </p:sp>
      <p:sp>
        <p:nvSpPr>
          <p:cNvPr id="129" name="Holder 3">
            <a:extLst>
              <a:ext uri="{FF2B5EF4-FFF2-40B4-BE49-F238E27FC236}">
                <a16:creationId xmlns:a16="http://schemas.microsoft.com/office/drawing/2014/main" id="{0B754F0D-227A-3316-FB7C-982E3478BFEB}"/>
              </a:ext>
            </a:extLst>
          </p:cNvPr>
          <p:cNvSpPr>
            <a:spLocks noGrp="1"/>
          </p:cNvSpPr>
          <p:nvPr>
            <p:custDataLst>
              <p:tags r:id="rId61"/>
            </p:custDataLst>
          </p:nvPr>
        </p:nvSpPr>
        <p:spPr bwMode="auto">
          <a:xfrm>
            <a:off x="6269653" y="4253214"/>
            <a:ext cx="2215127" cy="435402"/>
          </a:xfrm>
          <a:prstGeom prst="chevron">
            <a:avLst>
              <a:gd name="adj" fmla="val 18288"/>
            </a:avLst>
          </a:prstGeom>
          <a:solidFill>
            <a:srgbClr val="333333"/>
          </a:solidFill>
          <a:ln w="9525" cmpd="sng" algn="ctr">
            <a:solidFill>
              <a:schemeClr val="tx1"/>
            </a:solidFill>
          </a:ln>
          <a:effectLst/>
        </p:spPr>
        <p:txBody>
          <a:bodyPr vert="horz" wrap="non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dirty="0">
                <a:solidFill>
                  <a:schemeClr val="bg1"/>
                </a:solidFill>
              </a:rPr>
              <a:t>Draft Behavioral Study</a:t>
            </a:r>
            <a:endParaRPr lang="en-US" sz="854" dirty="0">
              <a:solidFill>
                <a:schemeClr val="bg1"/>
              </a:solidFill>
            </a:endParaRPr>
          </a:p>
        </p:txBody>
      </p:sp>
      <p:sp>
        <p:nvSpPr>
          <p:cNvPr id="115" name="Holder 3">
            <a:extLst>
              <a:ext uri="{FF2B5EF4-FFF2-40B4-BE49-F238E27FC236}">
                <a16:creationId xmlns:a16="http://schemas.microsoft.com/office/drawing/2014/main" id="{7CBBB4D4-697D-6B8D-7867-DA8E80D90CD1}"/>
              </a:ext>
            </a:extLst>
          </p:cNvPr>
          <p:cNvSpPr>
            <a:spLocks noGrp="1"/>
          </p:cNvSpPr>
          <p:nvPr>
            <p:custDataLst>
              <p:tags r:id="rId62"/>
            </p:custDataLst>
          </p:nvPr>
        </p:nvSpPr>
        <p:spPr bwMode="auto">
          <a:xfrm>
            <a:off x="3371774" y="3619594"/>
            <a:ext cx="1230815" cy="435402"/>
          </a:xfrm>
          <a:prstGeom prst="chevron">
            <a:avLst>
              <a:gd name="adj" fmla="val 18288"/>
            </a:avLst>
          </a:prstGeom>
          <a:solidFill>
            <a:srgbClr val="333333"/>
          </a:solidFill>
          <a:ln w="9525" cmpd="sng" algn="ctr">
            <a:solidFill>
              <a:schemeClr val="tx1"/>
            </a:solidFill>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sz="854" dirty="0">
                <a:solidFill>
                  <a:schemeClr val="bg1"/>
                </a:solidFill>
              </a:rPr>
              <a:t>Devise &amp; Review Survey Design</a:t>
            </a:r>
          </a:p>
        </p:txBody>
      </p:sp>
      <p:sp>
        <p:nvSpPr>
          <p:cNvPr id="336" name="Holder 3">
            <a:extLst>
              <a:ext uri="{FF2B5EF4-FFF2-40B4-BE49-F238E27FC236}">
                <a16:creationId xmlns:a16="http://schemas.microsoft.com/office/drawing/2014/main" id="{24DFC85C-66AA-0A70-D50A-B7D068990B0A}"/>
              </a:ext>
            </a:extLst>
          </p:cNvPr>
          <p:cNvSpPr>
            <a:spLocks noGrp="1"/>
          </p:cNvSpPr>
          <p:nvPr>
            <p:custDataLst>
              <p:tags r:id="rId63"/>
            </p:custDataLst>
          </p:nvPr>
        </p:nvSpPr>
        <p:spPr bwMode="auto">
          <a:xfrm>
            <a:off x="5763942" y="4253214"/>
            <a:ext cx="586183" cy="435402"/>
          </a:xfrm>
          <a:prstGeom prst="homePlate">
            <a:avLst>
              <a:gd name="adj" fmla="val 18288"/>
            </a:avLst>
          </a:prstGeom>
          <a:solidFill>
            <a:srgbClr val="333333"/>
          </a:solidFill>
          <a:ln w="9525" cmpd="sng" algn="ctr">
            <a:solidFill>
              <a:schemeClr val="tx1"/>
            </a:solidFill>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dirty="0">
                <a:solidFill>
                  <a:schemeClr val="bg1"/>
                </a:solidFill>
              </a:rPr>
              <a:t>Draft interim Report</a:t>
            </a:r>
            <a:endParaRPr lang="en-US" sz="854" dirty="0">
              <a:solidFill>
                <a:schemeClr val="bg1"/>
              </a:solidFill>
            </a:endParaRPr>
          </a:p>
        </p:txBody>
      </p:sp>
      <p:sp>
        <p:nvSpPr>
          <p:cNvPr id="93" name="Holder 3">
            <a:extLst>
              <a:ext uri="{FF2B5EF4-FFF2-40B4-BE49-F238E27FC236}">
                <a16:creationId xmlns:a16="http://schemas.microsoft.com/office/drawing/2014/main" id="{F3E1399D-6BAA-2EFF-7E98-25C60602F691}"/>
              </a:ext>
            </a:extLst>
          </p:cNvPr>
          <p:cNvSpPr>
            <a:spLocks noGrp="1"/>
          </p:cNvSpPr>
          <p:nvPr>
            <p:custDataLst>
              <p:tags r:id="rId64"/>
            </p:custDataLst>
          </p:nvPr>
        </p:nvSpPr>
        <p:spPr bwMode="auto">
          <a:xfrm>
            <a:off x="2711049" y="2985128"/>
            <a:ext cx="741200" cy="435402"/>
          </a:xfrm>
          <a:prstGeom prst="homePlate">
            <a:avLst>
              <a:gd name="adj" fmla="val 18288"/>
            </a:avLst>
          </a:prstGeom>
          <a:solidFill>
            <a:srgbClr val="333333"/>
          </a:solidFill>
          <a:ln w="9525" cmpd="sng" algn="ctr">
            <a:solidFill>
              <a:schemeClr val="tx1"/>
            </a:solidFill>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dirty="0">
                <a:solidFill>
                  <a:schemeClr val="bg1"/>
                </a:solidFill>
              </a:rPr>
              <a:t>Analyze the State of the Field</a:t>
            </a:r>
            <a:endParaRPr lang="en-US" sz="854" dirty="0">
              <a:solidFill>
                <a:schemeClr val="bg1"/>
              </a:solidFill>
            </a:endParaRPr>
          </a:p>
        </p:txBody>
      </p:sp>
      <p:sp>
        <p:nvSpPr>
          <p:cNvPr id="102" name="Holder 3">
            <a:extLst>
              <a:ext uri="{FF2B5EF4-FFF2-40B4-BE49-F238E27FC236}">
                <a16:creationId xmlns:a16="http://schemas.microsoft.com/office/drawing/2014/main" id="{28DDF273-607E-3514-5829-5BF76C8C214A}"/>
              </a:ext>
            </a:extLst>
          </p:cNvPr>
          <p:cNvSpPr>
            <a:spLocks noGrp="1"/>
          </p:cNvSpPr>
          <p:nvPr>
            <p:custDataLst>
              <p:tags r:id="rId65"/>
            </p:custDataLst>
          </p:nvPr>
        </p:nvSpPr>
        <p:spPr bwMode="auto">
          <a:xfrm>
            <a:off x="2977033" y="3619594"/>
            <a:ext cx="475215" cy="435402"/>
          </a:xfrm>
          <a:prstGeom prst="homePlate">
            <a:avLst>
              <a:gd name="adj" fmla="val 18288"/>
            </a:avLst>
          </a:prstGeom>
          <a:solidFill>
            <a:srgbClr val="333333"/>
          </a:solidFill>
          <a:ln w="9525" cmpd="sng" algn="ctr">
            <a:solidFill>
              <a:schemeClr val="tx1"/>
            </a:solidFill>
          </a:ln>
          <a:effectLst/>
        </p:spPr>
        <p:txBody>
          <a:bodyPr vert="horz" wrap="square" lIns="48284" tIns="24566" rIns="0" bIns="24566"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dirty="0">
                <a:solidFill>
                  <a:schemeClr val="bg1"/>
                </a:solidFill>
              </a:rPr>
              <a:t>Create Survey</a:t>
            </a:r>
            <a:endParaRPr lang="en-US" sz="854" dirty="0">
              <a:solidFill>
                <a:schemeClr val="bg1"/>
              </a:solidFill>
            </a:endParaRPr>
          </a:p>
        </p:txBody>
      </p:sp>
      <p:sp>
        <p:nvSpPr>
          <p:cNvPr id="113" name="Diamond 112">
            <a:extLst>
              <a:ext uri="{FF2B5EF4-FFF2-40B4-BE49-F238E27FC236}">
                <a16:creationId xmlns:a16="http://schemas.microsoft.com/office/drawing/2014/main" id="{A76962E6-CA15-FFD6-F96F-086E3F203E56}"/>
              </a:ext>
            </a:extLst>
          </p:cNvPr>
          <p:cNvSpPr/>
          <p:nvPr>
            <p:custDataLst>
              <p:tags r:id="rId66"/>
            </p:custDataLst>
          </p:nvPr>
        </p:nvSpPr>
        <p:spPr bwMode="gray">
          <a:xfrm>
            <a:off x="10345826" y="2533632"/>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81" name="Diamond 80">
            <a:extLst>
              <a:ext uri="{FF2B5EF4-FFF2-40B4-BE49-F238E27FC236}">
                <a16:creationId xmlns:a16="http://schemas.microsoft.com/office/drawing/2014/main" id="{FDAE8C13-8812-A7FE-F4DD-C1A1F009ABD9}"/>
              </a:ext>
            </a:extLst>
          </p:cNvPr>
          <p:cNvSpPr/>
          <p:nvPr>
            <p:custDataLst>
              <p:tags r:id="rId67"/>
            </p:custDataLst>
          </p:nvPr>
        </p:nvSpPr>
        <p:spPr bwMode="gray">
          <a:xfrm>
            <a:off x="8454285" y="2533632"/>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64" name="Diamond 63">
            <a:extLst>
              <a:ext uri="{FF2B5EF4-FFF2-40B4-BE49-F238E27FC236}">
                <a16:creationId xmlns:a16="http://schemas.microsoft.com/office/drawing/2014/main" id="{BE9F7BA1-F8E8-0A7C-0427-6047283170BD}"/>
              </a:ext>
            </a:extLst>
          </p:cNvPr>
          <p:cNvSpPr/>
          <p:nvPr>
            <p:custDataLst>
              <p:tags r:id="rId68"/>
            </p:custDataLst>
          </p:nvPr>
        </p:nvSpPr>
        <p:spPr bwMode="gray">
          <a:xfrm>
            <a:off x="6319630" y="2533632"/>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57" name="Diamond 56">
            <a:extLst>
              <a:ext uri="{FF2B5EF4-FFF2-40B4-BE49-F238E27FC236}">
                <a16:creationId xmlns:a16="http://schemas.microsoft.com/office/drawing/2014/main" id="{8CA12958-A857-C48F-478C-5F085AF14E64}"/>
              </a:ext>
            </a:extLst>
          </p:cNvPr>
          <p:cNvSpPr/>
          <p:nvPr>
            <p:custDataLst>
              <p:tags r:id="rId69"/>
            </p:custDataLst>
          </p:nvPr>
        </p:nvSpPr>
        <p:spPr bwMode="gray">
          <a:xfrm>
            <a:off x="5103216" y="2533632"/>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66" name="Isosceles Triangle 65">
            <a:extLst>
              <a:ext uri="{FF2B5EF4-FFF2-40B4-BE49-F238E27FC236}">
                <a16:creationId xmlns:a16="http://schemas.microsoft.com/office/drawing/2014/main" id="{E2B1E03A-9F9B-8D8D-AEFD-F3DE6F7557FA}"/>
              </a:ext>
            </a:extLst>
          </p:cNvPr>
          <p:cNvSpPr/>
          <p:nvPr>
            <p:custDataLst>
              <p:tags r:id="rId70"/>
            </p:custDataLst>
          </p:nvPr>
        </p:nvSpPr>
        <p:spPr bwMode="gray">
          <a:xfrm>
            <a:off x="2680553" y="4973236"/>
            <a:ext cx="60990" cy="6099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dirty="0"/>
          </a:p>
        </p:txBody>
      </p:sp>
      <p:sp>
        <p:nvSpPr>
          <p:cNvPr id="34" name="Diamond 33">
            <a:extLst>
              <a:ext uri="{FF2B5EF4-FFF2-40B4-BE49-F238E27FC236}">
                <a16:creationId xmlns:a16="http://schemas.microsoft.com/office/drawing/2014/main" id="{D3903702-7AD9-B2E1-A0C1-B9B4146B45BB}"/>
              </a:ext>
            </a:extLst>
          </p:cNvPr>
          <p:cNvSpPr/>
          <p:nvPr>
            <p:custDataLst>
              <p:tags r:id="rId71"/>
            </p:custDataLst>
          </p:nvPr>
        </p:nvSpPr>
        <p:spPr bwMode="gray">
          <a:xfrm>
            <a:off x="2680553" y="2533632"/>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356" name="Diamond 355">
            <a:extLst>
              <a:ext uri="{FF2B5EF4-FFF2-40B4-BE49-F238E27FC236}">
                <a16:creationId xmlns:a16="http://schemas.microsoft.com/office/drawing/2014/main" id="{28D4CBCC-25E4-4B62-A537-550A0CE702F4}"/>
              </a:ext>
            </a:extLst>
          </p:cNvPr>
          <p:cNvSpPr/>
          <p:nvPr>
            <p:custDataLst>
              <p:tags r:id="rId72"/>
            </p:custDataLst>
          </p:nvPr>
        </p:nvSpPr>
        <p:spPr bwMode="gray">
          <a:xfrm>
            <a:off x="4539058" y="3172334"/>
            <a:ext cx="60990" cy="60990"/>
          </a:xfrm>
          <a:prstGeom prst="diamond">
            <a:avLst/>
          </a:prstGeom>
          <a:solidFill>
            <a:srgbClr val="C30C3E"/>
          </a:solidFill>
          <a:ln w="9525" cap="flat" cmpd="sng" algn="ctr">
            <a:solidFill>
              <a:srgbClr val="C30C3E"/>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60"/>
          </a:p>
        </p:txBody>
      </p:sp>
      <p:sp>
        <p:nvSpPr>
          <p:cNvPr id="65" name="Holder 3">
            <a:extLst>
              <a:ext uri="{FF2B5EF4-FFF2-40B4-BE49-F238E27FC236}">
                <a16:creationId xmlns:a16="http://schemas.microsoft.com/office/drawing/2014/main" id="{DC91E7FA-28AA-6528-5EDB-7DC77D446D52}"/>
              </a:ext>
            </a:extLst>
          </p:cNvPr>
          <p:cNvSpPr>
            <a:spLocks noGrp="1"/>
          </p:cNvSpPr>
          <p:nvPr>
            <p:custDataLst>
              <p:tags r:id="rId73"/>
            </p:custDataLst>
          </p:nvPr>
        </p:nvSpPr>
        <p:spPr bwMode="auto">
          <a:xfrm>
            <a:off x="2547562" y="5046086"/>
            <a:ext cx="327822" cy="19483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186E8EB0-AF9E-4805-8911-F6BE406AAB94}" type="datetime'''2''''''''''''''''4''''''''''''''''''''''.''''1''''.'''''''''">
              <a:rPr lang="en-US" altLang="en-US" sz="1281"/>
              <a:pPr/>
              <a:t>24.1.</a:t>
            </a:fld>
            <a:endParaRPr lang="en-US" sz="1281" dirty="0"/>
          </a:p>
        </p:txBody>
      </p:sp>
      <p:sp useBgFill="1">
        <p:nvSpPr>
          <p:cNvPr id="32" name="Holder 3">
            <a:extLst>
              <a:ext uri="{FF2B5EF4-FFF2-40B4-BE49-F238E27FC236}">
                <a16:creationId xmlns:a16="http://schemas.microsoft.com/office/drawing/2014/main" id="{CA0119CB-6CF0-99E7-AA7B-45B94A2F8D27}"/>
              </a:ext>
            </a:extLst>
          </p:cNvPr>
          <p:cNvSpPr>
            <a:spLocks noGrp="1"/>
          </p:cNvSpPr>
          <p:nvPr>
            <p:custDataLst>
              <p:tags r:id="rId74"/>
            </p:custDataLst>
          </p:nvPr>
        </p:nvSpPr>
        <p:spPr bwMode="auto">
          <a:xfrm>
            <a:off x="2763568" y="2433676"/>
            <a:ext cx="874192" cy="260902"/>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CBAED3AF-E6F9-4327-B009-1FF51969C3AD}" type="datetime'''''''''''''''''24''''''''.''''''''''1''''''''''.'">
              <a:rPr lang="en-US" altLang="en-US" sz="854"/>
              <a:pPr/>
              <a:t>24.1.</a:t>
            </a:fld>
            <a:endParaRPr lang="en-US" altLang="en-US" sz="854" dirty="0"/>
          </a:p>
          <a:p>
            <a:pPr>
              <a:spcBef>
                <a:spcPct val="0"/>
              </a:spcBef>
              <a:spcAft>
                <a:spcPct val="0"/>
              </a:spcAft>
            </a:pPr>
            <a:r>
              <a:rPr lang="en-US" sz="854" dirty="0"/>
              <a:t>Kick-Off WS, Vienna</a:t>
            </a:r>
          </a:p>
        </p:txBody>
      </p:sp>
      <p:sp useBgFill="1">
        <p:nvSpPr>
          <p:cNvPr id="62" name="Holder 3">
            <a:extLst>
              <a:ext uri="{FF2B5EF4-FFF2-40B4-BE49-F238E27FC236}">
                <a16:creationId xmlns:a16="http://schemas.microsoft.com/office/drawing/2014/main" id="{98CDEE16-34C3-59E6-8B88-117154A55C79}"/>
              </a:ext>
            </a:extLst>
          </p:cNvPr>
          <p:cNvSpPr>
            <a:spLocks noGrp="1"/>
          </p:cNvSpPr>
          <p:nvPr>
            <p:custDataLst>
              <p:tags r:id="rId75"/>
            </p:custDataLst>
          </p:nvPr>
        </p:nvSpPr>
        <p:spPr bwMode="auto">
          <a:xfrm>
            <a:off x="5910489" y="2606481"/>
            <a:ext cx="880122" cy="391353"/>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8541900C-977F-4944-89B3-4F7A0BDA147B}" type="datetime'''''19''''.''''''1''''''''''''''2''''''''.'''''''''">
              <a:rPr lang="en-US" altLang="en-US" sz="854"/>
              <a:pPr/>
              <a:t>19.12.</a:t>
            </a:fld>
            <a:endParaRPr lang="en-US" altLang="en-US" sz="854" dirty="0"/>
          </a:p>
          <a:p>
            <a:pPr>
              <a:spcBef>
                <a:spcPct val="0"/>
              </a:spcBef>
              <a:spcAft>
                <a:spcPct val="0"/>
              </a:spcAft>
            </a:pPr>
            <a:r>
              <a:rPr lang="en-US" sz="854" dirty="0"/>
              <a:t>Draft report on </a:t>
            </a:r>
            <a:br>
              <a:rPr lang="en-US" sz="854" dirty="0"/>
            </a:br>
            <a:r>
              <a:rPr lang="en-US" sz="854" dirty="0"/>
              <a:t>survey results ready</a:t>
            </a:r>
          </a:p>
        </p:txBody>
      </p:sp>
      <p:sp useBgFill="1">
        <p:nvSpPr>
          <p:cNvPr id="79" name="Holder 3">
            <a:extLst>
              <a:ext uri="{FF2B5EF4-FFF2-40B4-BE49-F238E27FC236}">
                <a16:creationId xmlns:a16="http://schemas.microsoft.com/office/drawing/2014/main" id="{97A4ED52-577E-91F9-648A-573192EABF50}"/>
              </a:ext>
            </a:extLst>
          </p:cNvPr>
          <p:cNvSpPr>
            <a:spLocks noGrp="1"/>
          </p:cNvSpPr>
          <p:nvPr>
            <p:custDataLst>
              <p:tags r:id="rId76"/>
            </p:custDataLst>
          </p:nvPr>
        </p:nvSpPr>
        <p:spPr bwMode="auto">
          <a:xfrm>
            <a:off x="7945188" y="2606481"/>
            <a:ext cx="1079186" cy="260902"/>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B0A0CC38-DA3A-4FC1-A331-D49B91829F4E}" type="datetime'''''3''''''0''''''''''''''''''''''''''''''''''''''.6''''.'">
              <a:rPr lang="en-US" altLang="en-US" sz="854"/>
              <a:pPr/>
              <a:t>30.6.</a:t>
            </a:fld>
            <a:endParaRPr lang="en-US" altLang="en-US" sz="854" dirty="0"/>
          </a:p>
          <a:p>
            <a:pPr>
              <a:spcBef>
                <a:spcPct val="0"/>
              </a:spcBef>
              <a:spcAft>
                <a:spcPct val="0"/>
              </a:spcAft>
            </a:pPr>
            <a:r>
              <a:rPr lang="en-US" sz="854" dirty="0"/>
              <a:t>Draft of full report ready</a:t>
            </a:r>
          </a:p>
        </p:txBody>
      </p:sp>
      <p:sp>
        <p:nvSpPr>
          <p:cNvPr id="44" name="Holder 3">
            <a:extLst>
              <a:ext uri="{FF2B5EF4-FFF2-40B4-BE49-F238E27FC236}">
                <a16:creationId xmlns:a16="http://schemas.microsoft.com/office/drawing/2014/main" id="{E9E2D134-3C99-166C-A626-372791EE56F6}"/>
              </a:ext>
            </a:extLst>
          </p:cNvPr>
          <p:cNvSpPr>
            <a:spLocks noGrp="1"/>
          </p:cNvSpPr>
          <p:nvPr>
            <p:custDataLst>
              <p:tags r:id="rId77"/>
            </p:custDataLst>
          </p:nvPr>
        </p:nvSpPr>
        <p:spPr bwMode="auto">
          <a:xfrm>
            <a:off x="1630168" y="3772070"/>
            <a:ext cx="627690" cy="1304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b="1" dirty="0">
                <a:solidFill>
                  <a:schemeClr val="tx1"/>
                </a:solidFill>
                <a:latin typeface="+mn-lt"/>
                <a:cs typeface="+mn-cs"/>
              </a:rPr>
              <a:t>Online Survey</a:t>
            </a:r>
            <a:endParaRPr lang="en-US" sz="854" b="1" dirty="0">
              <a:solidFill>
                <a:schemeClr val="tx1"/>
              </a:solidFill>
              <a:latin typeface="+mn-lt"/>
              <a:cs typeface="+mn-cs"/>
            </a:endParaRPr>
          </a:p>
        </p:txBody>
      </p:sp>
      <p:sp useBgFill="1">
        <p:nvSpPr>
          <p:cNvPr id="354" name="Holder 3">
            <a:extLst>
              <a:ext uri="{FF2B5EF4-FFF2-40B4-BE49-F238E27FC236}">
                <a16:creationId xmlns:a16="http://schemas.microsoft.com/office/drawing/2014/main" id="{68C7315D-511A-133F-6AA2-957D9A3C3579}"/>
              </a:ext>
            </a:extLst>
          </p:cNvPr>
          <p:cNvSpPr>
            <a:spLocks noGrp="1"/>
          </p:cNvSpPr>
          <p:nvPr>
            <p:custDataLst>
              <p:tags r:id="rId78"/>
            </p:custDataLst>
          </p:nvPr>
        </p:nvSpPr>
        <p:spPr bwMode="auto">
          <a:xfrm>
            <a:off x="3870709" y="3245183"/>
            <a:ext cx="1398538" cy="260902"/>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3DE69662-FBDC-45B3-95B5-8FBDF2C60124}" type="datetime'1''1''''''''.''''''''''''7''''''''''''''''''.'''''''">
              <a:rPr lang="en-US" altLang="en-US" sz="854"/>
              <a:pPr/>
              <a:t>11.7.</a:t>
            </a:fld>
            <a:endParaRPr lang="en-US" altLang="en-US" sz="854" dirty="0"/>
          </a:p>
          <a:p>
            <a:pPr>
              <a:spcBef>
                <a:spcPct val="0"/>
              </a:spcBef>
              <a:spcAft>
                <a:spcPct val="0"/>
              </a:spcAft>
            </a:pPr>
            <a:r>
              <a:rPr lang="en-US" sz="854" dirty="0"/>
              <a:t>TF Behavioral  Workshop, Berlin</a:t>
            </a:r>
          </a:p>
        </p:txBody>
      </p:sp>
      <p:sp>
        <p:nvSpPr>
          <p:cNvPr id="46" name="Holder 3">
            <a:extLst>
              <a:ext uri="{FF2B5EF4-FFF2-40B4-BE49-F238E27FC236}">
                <a16:creationId xmlns:a16="http://schemas.microsoft.com/office/drawing/2014/main" id="{28DC0CFF-5853-D3B5-7DE2-79B45F045A4C}"/>
              </a:ext>
            </a:extLst>
          </p:cNvPr>
          <p:cNvSpPr>
            <a:spLocks noGrp="1"/>
          </p:cNvSpPr>
          <p:nvPr>
            <p:custDataLst>
              <p:tags r:id="rId79"/>
            </p:custDataLst>
          </p:nvPr>
        </p:nvSpPr>
        <p:spPr bwMode="auto">
          <a:xfrm>
            <a:off x="1630168" y="4405690"/>
            <a:ext cx="736964" cy="1304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b="1" dirty="0">
                <a:solidFill>
                  <a:schemeClr val="tx1"/>
                </a:solidFill>
                <a:latin typeface="+mn-lt"/>
                <a:cs typeface="+mn-cs"/>
              </a:rPr>
              <a:t>Research Report</a:t>
            </a:r>
            <a:endParaRPr lang="en-US" sz="854" b="1" dirty="0">
              <a:solidFill>
                <a:schemeClr val="tx1"/>
              </a:solidFill>
              <a:latin typeface="+mn-lt"/>
              <a:cs typeface="+mn-cs"/>
            </a:endParaRPr>
          </a:p>
        </p:txBody>
      </p:sp>
      <p:sp>
        <p:nvSpPr>
          <p:cNvPr id="25" name="Holder 3">
            <a:extLst>
              <a:ext uri="{FF2B5EF4-FFF2-40B4-BE49-F238E27FC236}">
                <a16:creationId xmlns:a16="http://schemas.microsoft.com/office/drawing/2014/main" id="{FCFEC99A-50D1-6310-0D28-DB52001BD5E9}"/>
              </a:ext>
            </a:extLst>
          </p:cNvPr>
          <p:cNvSpPr>
            <a:spLocks noGrp="1"/>
          </p:cNvSpPr>
          <p:nvPr>
            <p:custDataLst>
              <p:tags r:id="rId80"/>
            </p:custDataLst>
          </p:nvPr>
        </p:nvSpPr>
        <p:spPr bwMode="auto">
          <a:xfrm>
            <a:off x="1630168" y="1990650"/>
            <a:ext cx="300715" cy="11350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b">
            <a:no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7A639588-6836-4431-8AF2-97A3B01FA2A5}" type="datetime'''''''''''A''''''''''c''''''''''t''''''''''i''vi''ty'''''">
              <a:rPr lang="en-US" altLang="en-US" sz="747" b="1">
                <a:solidFill>
                  <a:schemeClr val="tx1"/>
                </a:solidFill>
                <a:latin typeface="+mn-lt"/>
                <a:cs typeface="+mn-cs"/>
              </a:rPr>
              <a:pPr>
                <a:spcBef>
                  <a:spcPct val="0"/>
                </a:spcBef>
                <a:spcAft>
                  <a:spcPct val="0"/>
                </a:spcAft>
              </a:pPr>
              <a:t>Activity</a:t>
            </a:fld>
            <a:endParaRPr lang="en-US" sz="747" b="1" dirty="0">
              <a:solidFill>
                <a:schemeClr val="tx1"/>
              </a:solidFill>
              <a:latin typeface="+mn-lt"/>
              <a:cs typeface="+mn-cs"/>
            </a:endParaRPr>
          </a:p>
        </p:txBody>
      </p:sp>
      <p:sp useBgFill="1">
        <p:nvSpPr>
          <p:cNvPr id="55" name="Holder 3">
            <a:extLst>
              <a:ext uri="{FF2B5EF4-FFF2-40B4-BE49-F238E27FC236}">
                <a16:creationId xmlns:a16="http://schemas.microsoft.com/office/drawing/2014/main" id="{2D05B4A9-F9FC-8FED-18B0-3379EB6D22CB}"/>
              </a:ext>
            </a:extLst>
          </p:cNvPr>
          <p:cNvSpPr>
            <a:spLocks noGrp="1"/>
          </p:cNvSpPr>
          <p:nvPr>
            <p:custDataLst>
              <p:tags r:id="rId81"/>
            </p:custDataLst>
          </p:nvPr>
        </p:nvSpPr>
        <p:spPr bwMode="auto">
          <a:xfrm>
            <a:off x="4781324" y="2606481"/>
            <a:ext cx="704775" cy="260902"/>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E1CF1426-472C-4DB5-982F-14488A1D1554}" type="datetime'3''''''''''''''''1''''''''''''''''''.8''''''''.'">
              <a:rPr lang="en-US" altLang="en-US" sz="854"/>
              <a:pPr/>
              <a:t>31.8.</a:t>
            </a:fld>
            <a:endParaRPr lang="en-US" altLang="en-US" sz="854" dirty="0"/>
          </a:p>
          <a:p>
            <a:pPr>
              <a:spcBef>
                <a:spcPct val="0"/>
              </a:spcBef>
              <a:spcAft>
                <a:spcPct val="0"/>
              </a:spcAft>
            </a:pPr>
            <a:r>
              <a:rPr lang="en-US" sz="854" dirty="0"/>
              <a:t>Finalized Survey</a:t>
            </a:r>
          </a:p>
        </p:txBody>
      </p:sp>
      <p:sp>
        <p:nvSpPr>
          <p:cNvPr id="42" name="Holder 3">
            <a:extLst>
              <a:ext uri="{FF2B5EF4-FFF2-40B4-BE49-F238E27FC236}">
                <a16:creationId xmlns:a16="http://schemas.microsoft.com/office/drawing/2014/main" id="{24179EDA-95AB-9996-30D6-A6B056060750}"/>
              </a:ext>
            </a:extLst>
          </p:cNvPr>
          <p:cNvSpPr>
            <a:spLocks noGrp="1"/>
          </p:cNvSpPr>
          <p:nvPr>
            <p:custDataLst>
              <p:tags r:id="rId82"/>
            </p:custDataLst>
          </p:nvPr>
        </p:nvSpPr>
        <p:spPr bwMode="auto">
          <a:xfrm>
            <a:off x="1630168" y="3137603"/>
            <a:ext cx="788636" cy="1304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b="1" dirty="0">
                <a:solidFill>
                  <a:schemeClr val="tx1"/>
                </a:solidFill>
                <a:latin typeface="+mn-lt"/>
                <a:cs typeface="+mn-cs"/>
              </a:rPr>
              <a:t>Literature Review</a:t>
            </a:r>
            <a:endParaRPr lang="en-US" sz="854" b="1" dirty="0">
              <a:solidFill>
                <a:schemeClr val="tx1"/>
              </a:solidFill>
              <a:latin typeface="+mn-lt"/>
              <a:cs typeface="+mn-cs"/>
            </a:endParaRPr>
          </a:p>
        </p:txBody>
      </p:sp>
      <p:sp useBgFill="1">
        <p:nvSpPr>
          <p:cNvPr id="111" name="Holder 3">
            <a:extLst>
              <a:ext uri="{FF2B5EF4-FFF2-40B4-BE49-F238E27FC236}">
                <a16:creationId xmlns:a16="http://schemas.microsoft.com/office/drawing/2014/main" id="{E4DB1BC2-FE2E-B1E5-AA28-2335C9492D16}"/>
              </a:ext>
            </a:extLst>
          </p:cNvPr>
          <p:cNvSpPr>
            <a:spLocks noGrp="1"/>
          </p:cNvSpPr>
          <p:nvPr>
            <p:custDataLst>
              <p:tags r:id="rId83"/>
            </p:custDataLst>
          </p:nvPr>
        </p:nvSpPr>
        <p:spPr bwMode="auto">
          <a:xfrm>
            <a:off x="9839269" y="2606481"/>
            <a:ext cx="1074951" cy="391353"/>
          </a:xfrm>
          <a:prstGeom prst="rect">
            <a:avLst/>
          </a:prstGeom>
          <a:ln>
            <a:noFill/>
          </a:ln>
          <a:effec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A9F94688-FFD1-489D-ADF3-B6EB96120C6D}" type="datetime'18''''.''''1''''''''''2''''''''.'''''''''''''''''''''''''''''">
              <a:rPr lang="en-US" altLang="en-US" sz="854"/>
              <a:pPr/>
              <a:t>18.12.</a:t>
            </a:fld>
            <a:endParaRPr lang="en-US" altLang="en-US" sz="854" dirty="0"/>
          </a:p>
          <a:p>
            <a:pPr>
              <a:spcBef>
                <a:spcPct val="0"/>
              </a:spcBef>
              <a:spcAft>
                <a:spcPct val="0"/>
              </a:spcAft>
            </a:pPr>
            <a:r>
              <a:rPr lang="en-US" sz="854" dirty="0"/>
              <a:t>Final report incl. policy</a:t>
            </a:r>
          </a:p>
          <a:p>
            <a:pPr>
              <a:spcBef>
                <a:spcPct val="0"/>
              </a:spcBef>
              <a:spcAft>
                <a:spcPct val="0"/>
              </a:spcAft>
            </a:pPr>
            <a:r>
              <a:rPr lang="en-US" sz="854" dirty="0"/>
              <a:t>recommendations ready</a:t>
            </a:r>
          </a:p>
        </p:txBody>
      </p:sp>
      <p:sp>
        <p:nvSpPr>
          <p:cNvPr id="29" name="Holder 3">
            <a:extLst>
              <a:ext uri="{FF2B5EF4-FFF2-40B4-BE49-F238E27FC236}">
                <a16:creationId xmlns:a16="http://schemas.microsoft.com/office/drawing/2014/main" id="{A09080E1-F52F-C0D4-64F2-E5AC8743D020}"/>
              </a:ext>
            </a:extLst>
          </p:cNvPr>
          <p:cNvSpPr>
            <a:spLocks noGrp="1"/>
          </p:cNvSpPr>
          <p:nvPr>
            <p:custDataLst>
              <p:tags r:id="rId84"/>
            </p:custDataLst>
          </p:nvPr>
        </p:nvSpPr>
        <p:spPr bwMode="auto">
          <a:xfrm>
            <a:off x="1630168" y="2503984"/>
            <a:ext cx="493851" cy="13045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sz="8250" b="0" i="0">
                <a:solidFill>
                  <a:srgbClr val="7A7C8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US" altLang="en-US" sz="854" b="1" dirty="0">
                <a:solidFill>
                  <a:schemeClr val="tx1"/>
                </a:solidFill>
                <a:latin typeface="+mn-lt"/>
                <a:cs typeface="+mn-cs"/>
              </a:rPr>
              <a:t>Milestones</a:t>
            </a:r>
            <a:endParaRPr lang="en-US" sz="854" b="1" dirty="0">
              <a:solidFill>
                <a:schemeClr val="tx1"/>
              </a:solidFill>
              <a:latin typeface="+mn-lt"/>
              <a:cs typeface="+mn-cs"/>
            </a:endParaRPr>
          </a:p>
        </p:txBody>
      </p:sp>
      <p:sp>
        <p:nvSpPr>
          <p:cNvPr id="346" name="object 25">
            <a:extLst>
              <a:ext uri="{FF2B5EF4-FFF2-40B4-BE49-F238E27FC236}">
                <a16:creationId xmlns:a16="http://schemas.microsoft.com/office/drawing/2014/main" id="{92CFB918-D7F1-D9B9-D974-E7680F27B481}"/>
              </a:ext>
            </a:extLst>
          </p:cNvPr>
          <p:cNvSpPr txBox="1">
            <a:spLocks noGrp="1"/>
          </p:cNvSpPr>
          <p:nvPr>
            <p:ph type="body" idx="1"/>
          </p:nvPr>
        </p:nvSpPr>
        <p:spPr>
          <a:xfrm>
            <a:off x="1561831" y="7129067"/>
            <a:ext cx="7616027" cy="589609"/>
          </a:xfrm>
          <a:prstGeom prst="rect">
            <a:avLst/>
          </a:prstGeom>
        </p:spPr>
        <p:txBody>
          <a:bodyPr vert="horz" wrap="square" lIns="0" tIns="6438" rIns="0" bIns="0" rtlCol="0">
            <a:spAutoFit/>
          </a:bodyPr>
          <a:lstStyle/>
          <a:p>
            <a:pPr marL="62007" marR="17958">
              <a:lnSpc>
                <a:spcPts val="1846"/>
              </a:lnSpc>
              <a:spcBef>
                <a:spcPts val="4343"/>
              </a:spcBef>
            </a:pPr>
            <a:r>
              <a:rPr lang="en-US" sz="1574" b="1" dirty="0">
                <a:solidFill>
                  <a:srgbClr val="A78A4C"/>
                </a:solidFill>
                <a:latin typeface="Open Sans ExtraBold" panose="020B0606030504020204" pitchFamily="34" charset="0"/>
                <a:ea typeface="Open Sans ExtraBold" panose="020B0606030504020204" pitchFamily="34" charset="0"/>
                <a:cs typeface="Open Sans ExtraBold" panose="020B0606030504020204" pitchFamily="34" charset="0"/>
              </a:rPr>
              <a:t>xxx</a:t>
            </a:r>
            <a:endParaRPr lang="en-US" sz="1574" b="1" dirty="0">
              <a:latin typeface="Open Sans Extrabold" panose="020B0606030504020204" pitchFamily="34" charset="0"/>
              <a:ea typeface="Open Sans Extrabold" panose="020B0606030504020204" pitchFamily="34" charset="0"/>
              <a:cs typeface="Open Sans Extrabold" panose="020B0606030504020204" pitchFamily="34" charset="0"/>
            </a:endParaRPr>
          </a:p>
          <a:p>
            <a:pPr marL="62007" marR="22363">
              <a:lnSpc>
                <a:spcPct val="108800"/>
              </a:lnSpc>
              <a:spcBef>
                <a:spcPts val="1209"/>
              </a:spcBef>
            </a:pPr>
            <a:r>
              <a:rPr lang="en-US" sz="1281" dirty="0">
                <a:solidFill>
                  <a:srgbClr val="000000"/>
                </a:solidFill>
                <a:latin typeface="Open Sans" panose="020B0606030504020204" pitchFamily="34" charset="0"/>
                <a:ea typeface="Open Sans" panose="020B0606030504020204" pitchFamily="34" charset="0"/>
                <a:cs typeface="Open Sans" panose="020B0606030504020204" pitchFamily="34" charset="0"/>
              </a:rPr>
              <a:t>xxx</a:t>
            </a:r>
            <a:endParaRPr lang="en-US" sz="1281" dirty="0">
              <a:latin typeface="Open Sans" panose="020B0606030504020204" pitchFamily="34" charset="0"/>
              <a:ea typeface="Open Sans" panose="020B0606030504020204" pitchFamily="34" charset="0"/>
              <a:cs typeface="Open Sans" panose="020B0606030504020204" pitchFamily="34" charset="0"/>
            </a:endParaRPr>
          </a:p>
        </p:txBody>
      </p:sp>
      <p:pic>
        <p:nvPicPr>
          <p:cNvPr id="353" name="Picture 352" descr="A black circle with arrows&#10;&#10;Description automatically generated">
            <a:extLst>
              <a:ext uri="{FF2B5EF4-FFF2-40B4-BE49-F238E27FC236}">
                <a16:creationId xmlns:a16="http://schemas.microsoft.com/office/drawing/2014/main" id="{200C0978-37C0-47CE-6516-5F07D4428439}"/>
              </a:ext>
            </a:extLst>
          </p:cNvPr>
          <p:cNvPicPr>
            <a:picLocks noChangeAspect="1"/>
          </p:cNvPicPr>
          <p:nvPr/>
        </p:nvPicPr>
        <p:blipFill>
          <a:blip r:embed="rId100" cstate="print">
            <a:extLst>
              <a:ext uri="{28A0092B-C50C-407E-A947-70E740481C1C}">
                <a14:useLocalDpi xmlns:a14="http://schemas.microsoft.com/office/drawing/2010/main" val="0"/>
              </a:ext>
            </a:extLst>
          </a:blip>
          <a:stretch>
            <a:fillRect/>
          </a:stretch>
        </p:blipFill>
        <p:spPr>
          <a:xfrm>
            <a:off x="6996028" y="3797766"/>
            <a:ext cx="639549" cy="369469"/>
          </a:xfrm>
          <a:prstGeom prst="rect">
            <a:avLst/>
          </a:prstGeom>
        </p:spPr>
      </p:pic>
      <p:sp>
        <p:nvSpPr>
          <p:cNvPr id="368" name="object 27">
            <a:extLst>
              <a:ext uri="{FF2B5EF4-FFF2-40B4-BE49-F238E27FC236}">
                <a16:creationId xmlns:a16="http://schemas.microsoft.com/office/drawing/2014/main" id="{B718AFEA-65D4-24BD-CEEB-005791F3743E}"/>
              </a:ext>
            </a:extLst>
          </p:cNvPr>
          <p:cNvSpPr txBox="1"/>
          <p:nvPr/>
        </p:nvSpPr>
        <p:spPr>
          <a:xfrm>
            <a:off x="5595782" y="6467743"/>
            <a:ext cx="1000436" cy="124951"/>
          </a:xfrm>
          <a:prstGeom prst="rect">
            <a:avLst/>
          </a:prstGeom>
        </p:spPr>
        <p:txBody>
          <a:bodyPr vert="horz" wrap="square" lIns="0" tIns="5760" rIns="0" bIns="0" rtlCol="0">
            <a:spAutoFit/>
          </a:bodyPr>
          <a:lstStyle/>
          <a:p>
            <a:pPr marL="6777" algn="ctr">
              <a:spcBef>
                <a:spcPts val="45"/>
              </a:spcBef>
            </a:pPr>
            <a:r>
              <a:rPr lang="en-US" sz="774" spc="8" dirty="0">
                <a:solidFill>
                  <a:srgbClr val="A78A4C"/>
                </a:solidFill>
                <a:latin typeface="HelveticaNeue-Light"/>
                <a:cs typeface="HelveticaNeue-Light"/>
              </a:rPr>
              <a:t>11 July</a:t>
            </a:r>
            <a:r>
              <a:rPr lang="en-US" sz="774" spc="-13" dirty="0">
                <a:solidFill>
                  <a:srgbClr val="A78A4C"/>
                </a:solidFill>
                <a:latin typeface="HelveticaNeue-Light"/>
                <a:cs typeface="HelveticaNeue-Light"/>
              </a:rPr>
              <a:t> </a:t>
            </a:r>
            <a:r>
              <a:rPr lang="en-US" sz="774" spc="8" dirty="0">
                <a:solidFill>
                  <a:srgbClr val="A78A4C"/>
                </a:solidFill>
                <a:latin typeface="HelveticaNeue-Light"/>
                <a:cs typeface="HelveticaNeue-Light"/>
              </a:rPr>
              <a:t>2025</a:t>
            </a:r>
            <a:endParaRPr lang="en-US" sz="774" dirty="0">
              <a:latin typeface="HelveticaNeue-Light"/>
              <a:cs typeface="HelveticaNeue-Light"/>
            </a:endParaRPr>
          </a:p>
        </p:txBody>
      </p:sp>
      <p:pic>
        <p:nvPicPr>
          <p:cNvPr id="133" name="Picture 132" descr="A black circle with arrows&#10;&#10;Description automatically generated">
            <a:extLst>
              <a:ext uri="{FF2B5EF4-FFF2-40B4-BE49-F238E27FC236}">
                <a16:creationId xmlns:a16="http://schemas.microsoft.com/office/drawing/2014/main" id="{04CE8AC2-C56D-88D9-9B01-867280504EFB}"/>
              </a:ext>
            </a:extLst>
          </p:cNvPr>
          <p:cNvPicPr>
            <a:picLocks noChangeAspect="1"/>
          </p:cNvPicPr>
          <p:nvPr/>
        </p:nvPicPr>
        <p:blipFill>
          <a:blip r:embed="rId100" cstate="print">
            <a:extLst>
              <a:ext uri="{28A0092B-C50C-407E-A947-70E740481C1C}">
                <a14:useLocalDpi xmlns:a14="http://schemas.microsoft.com/office/drawing/2010/main" val="0"/>
              </a:ext>
            </a:extLst>
          </a:blip>
          <a:stretch>
            <a:fillRect/>
          </a:stretch>
        </p:blipFill>
        <p:spPr>
          <a:xfrm>
            <a:off x="9005738" y="3797766"/>
            <a:ext cx="639549" cy="369469"/>
          </a:xfrm>
          <a:prstGeom prst="rect">
            <a:avLst/>
          </a:prstGeom>
        </p:spPr>
      </p:pic>
    </p:spTree>
    <p:extLst>
      <p:ext uri="{BB962C8B-B14F-4D97-AF65-F5344CB8AC3E}">
        <p14:creationId xmlns:p14="http://schemas.microsoft.com/office/powerpoint/2010/main" val="1538839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095428" y="363170"/>
            <a:ext cx="10001363" cy="6129507"/>
            <a:chOff x="680607" y="680607"/>
            <a:chExt cx="18743295" cy="11487150"/>
          </a:xfrm>
        </p:grpSpPr>
        <p:sp>
          <p:nvSpPr>
            <p:cNvPr id="3" name="object 3"/>
            <p:cNvSpPr/>
            <p:nvPr/>
          </p:nvSpPr>
          <p:spPr>
            <a:xfrm>
              <a:off x="680607" y="680607"/>
              <a:ext cx="18743295" cy="11487150"/>
            </a:xfrm>
            <a:custGeom>
              <a:avLst/>
              <a:gdLst/>
              <a:ahLst/>
              <a:cxnLst/>
              <a:rect l="l" t="t" r="r" b="b"/>
              <a:pathLst>
                <a:path w="18743295" h="11487150">
                  <a:moveTo>
                    <a:pt x="18742884" y="0"/>
                  </a:moveTo>
                  <a:lnTo>
                    <a:pt x="0" y="0"/>
                  </a:lnTo>
                  <a:lnTo>
                    <a:pt x="0" y="11486561"/>
                  </a:lnTo>
                  <a:lnTo>
                    <a:pt x="15769153" y="11486561"/>
                  </a:lnTo>
                  <a:lnTo>
                    <a:pt x="15817367" y="11486178"/>
                  </a:lnTo>
                  <a:lnTo>
                    <a:pt x="15865395" y="11485033"/>
                  </a:lnTo>
                  <a:lnTo>
                    <a:pt x="15913233" y="11483132"/>
                  </a:lnTo>
                  <a:lnTo>
                    <a:pt x="15960874" y="11480480"/>
                  </a:lnTo>
                  <a:lnTo>
                    <a:pt x="16008313" y="11477083"/>
                  </a:lnTo>
                  <a:lnTo>
                    <a:pt x="16055543" y="11472948"/>
                  </a:lnTo>
                  <a:lnTo>
                    <a:pt x="16102560" y="11468079"/>
                  </a:lnTo>
                  <a:lnTo>
                    <a:pt x="16149357" y="11462483"/>
                  </a:lnTo>
                  <a:lnTo>
                    <a:pt x="16195928" y="11456165"/>
                  </a:lnTo>
                  <a:lnTo>
                    <a:pt x="16242268" y="11449132"/>
                  </a:lnTo>
                  <a:lnTo>
                    <a:pt x="16288371" y="11441388"/>
                  </a:lnTo>
                  <a:lnTo>
                    <a:pt x="16334231" y="11432940"/>
                  </a:lnTo>
                  <a:lnTo>
                    <a:pt x="16379843" y="11423793"/>
                  </a:lnTo>
                  <a:lnTo>
                    <a:pt x="16425201" y="11413954"/>
                  </a:lnTo>
                  <a:lnTo>
                    <a:pt x="16470298" y="11403427"/>
                  </a:lnTo>
                  <a:lnTo>
                    <a:pt x="16515129" y="11392220"/>
                  </a:lnTo>
                  <a:lnTo>
                    <a:pt x="16559689" y="11380336"/>
                  </a:lnTo>
                  <a:lnTo>
                    <a:pt x="16603971" y="11367783"/>
                  </a:lnTo>
                  <a:lnTo>
                    <a:pt x="16647970" y="11354566"/>
                  </a:lnTo>
                  <a:lnTo>
                    <a:pt x="16691681" y="11340691"/>
                  </a:lnTo>
                  <a:lnTo>
                    <a:pt x="16735096" y="11326164"/>
                  </a:lnTo>
                  <a:lnTo>
                    <a:pt x="16778211" y="11310989"/>
                  </a:lnTo>
                  <a:lnTo>
                    <a:pt x="16821020" y="11295174"/>
                  </a:lnTo>
                  <a:lnTo>
                    <a:pt x="16863517" y="11278724"/>
                  </a:lnTo>
                  <a:lnTo>
                    <a:pt x="16905695" y="11261644"/>
                  </a:lnTo>
                  <a:lnTo>
                    <a:pt x="16947551" y="11243941"/>
                  </a:lnTo>
                  <a:lnTo>
                    <a:pt x="16989077" y="11225620"/>
                  </a:lnTo>
                  <a:lnTo>
                    <a:pt x="17030268" y="11206687"/>
                  </a:lnTo>
                  <a:lnTo>
                    <a:pt x="17071118" y="11187148"/>
                  </a:lnTo>
                  <a:lnTo>
                    <a:pt x="17111621" y="11167008"/>
                  </a:lnTo>
                  <a:lnTo>
                    <a:pt x="17151772" y="11146274"/>
                  </a:lnTo>
                  <a:lnTo>
                    <a:pt x="17191565" y="11124950"/>
                  </a:lnTo>
                  <a:lnTo>
                    <a:pt x="17230994" y="11103044"/>
                  </a:lnTo>
                  <a:lnTo>
                    <a:pt x="17270053" y="11080560"/>
                  </a:lnTo>
                  <a:lnTo>
                    <a:pt x="17308736" y="11057504"/>
                  </a:lnTo>
                  <a:lnTo>
                    <a:pt x="17347039" y="11033882"/>
                  </a:lnTo>
                  <a:lnTo>
                    <a:pt x="17384954" y="11009700"/>
                  </a:lnTo>
                  <a:lnTo>
                    <a:pt x="17422476" y="10984964"/>
                  </a:lnTo>
                  <a:lnTo>
                    <a:pt x="17459600" y="10959680"/>
                  </a:lnTo>
                  <a:lnTo>
                    <a:pt x="17496320" y="10933852"/>
                  </a:lnTo>
                  <a:lnTo>
                    <a:pt x="17532629" y="10907488"/>
                  </a:lnTo>
                  <a:lnTo>
                    <a:pt x="17568523" y="10880592"/>
                  </a:lnTo>
                  <a:lnTo>
                    <a:pt x="17603995" y="10853171"/>
                  </a:lnTo>
                  <a:lnTo>
                    <a:pt x="17639040" y="10825230"/>
                  </a:lnTo>
                  <a:lnTo>
                    <a:pt x="17673651" y="10796775"/>
                  </a:lnTo>
                  <a:lnTo>
                    <a:pt x="17707823" y="10767812"/>
                  </a:lnTo>
                  <a:lnTo>
                    <a:pt x="17741551" y="10738346"/>
                  </a:lnTo>
                  <a:lnTo>
                    <a:pt x="17774828" y="10708384"/>
                  </a:lnTo>
                  <a:lnTo>
                    <a:pt x="17807649" y="10677931"/>
                  </a:lnTo>
                  <a:lnTo>
                    <a:pt x="17840008" y="10646993"/>
                  </a:lnTo>
                  <a:lnTo>
                    <a:pt x="17871899" y="10615575"/>
                  </a:lnTo>
                  <a:lnTo>
                    <a:pt x="17903317" y="10583684"/>
                  </a:lnTo>
                  <a:lnTo>
                    <a:pt x="17934255" y="10551326"/>
                  </a:lnTo>
                  <a:lnTo>
                    <a:pt x="17964708" y="10518505"/>
                  </a:lnTo>
                  <a:lnTo>
                    <a:pt x="17994670" y="10485227"/>
                  </a:lnTo>
                  <a:lnTo>
                    <a:pt x="18024135" y="10451500"/>
                  </a:lnTo>
                  <a:lnTo>
                    <a:pt x="18053099" y="10417327"/>
                  </a:lnTo>
                  <a:lnTo>
                    <a:pt x="18081554" y="10382716"/>
                  </a:lnTo>
                  <a:lnTo>
                    <a:pt x="18109494" y="10347671"/>
                  </a:lnTo>
                  <a:lnTo>
                    <a:pt x="18136916" y="10312199"/>
                  </a:lnTo>
                  <a:lnTo>
                    <a:pt x="18163811" y="10276306"/>
                  </a:lnTo>
                  <a:lnTo>
                    <a:pt x="18190176" y="10239996"/>
                  </a:lnTo>
                  <a:lnTo>
                    <a:pt x="18216003" y="10203277"/>
                  </a:lnTo>
                  <a:lnTo>
                    <a:pt x="18241288" y="10166153"/>
                  </a:lnTo>
                  <a:lnTo>
                    <a:pt x="18266024" y="10128630"/>
                  </a:lnTo>
                  <a:lnTo>
                    <a:pt x="18290206" y="10090715"/>
                  </a:lnTo>
                  <a:lnTo>
                    <a:pt x="18313827" y="10052413"/>
                  </a:lnTo>
                  <a:lnTo>
                    <a:pt x="18336883" y="10013729"/>
                  </a:lnTo>
                  <a:lnTo>
                    <a:pt x="18359367" y="9974670"/>
                  </a:lnTo>
                  <a:lnTo>
                    <a:pt x="18381274" y="9935241"/>
                  </a:lnTo>
                  <a:lnTo>
                    <a:pt x="18402597" y="9895448"/>
                  </a:lnTo>
                  <a:lnTo>
                    <a:pt x="18423332" y="9855297"/>
                  </a:lnTo>
                  <a:lnTo>
                    <a:pt x="18443472" y="9814794"/>
                  </a:lnTo>
                  <a:lnTo>
                    <a:pt x="18463011" y="9773944"/>
                  </a:lnTo>
                  <a:lnTo>
                    <a:pt x="18481944" y="9732753"/>
                  </a:lnTo>
                  <a:lnTo>
                    <a:pt x="18500265" y="9691227"/>
                  </a:lnTo>
                  <a:lnTo>
                    <a:pt x="18517968" y="9649372"/>
                  </a:lnTo>
                  <a:lnTo>
                    <a:pt x="18535048" y="9607193"/>
                  </a:lnTo>
                  <a:lnTo>
                    <a:pt x="18551498" y="9564696"/>
                  </a:lnTo>
                  <a:lnTo>
                    <a:pt x="18567313" y="9521888"/>
                  </a:lnTo>
                  <a:lnTo>
                    <a:pt x="18582487" y="9478773"/>
                  </a:lnTo>
                  <a:lnTo>
                    <a:pt x="18597015" y="9435357"/>
                  </a:lnTo>
                  <a:lnTo>
                    <a:pt x="18610890" y="9391647"/>
                  </a:lnTo>
                  <a:lnTo>
                    <a:pt x="18624107" y="9347648"/>
                  </a:lnTo>
                  <a:lnTo>
                    <a:pt x="18636660" y="9303365"/>
                  </a:lnTo>
                  <a:lnTo>
                    <a:pt x="18648543" y="9258806"/>
                  </a:lnTo>
                  <a:lnTo>
                    <a:pt x="18659751" y="9213974"/>
                  </a:lnTo>
                  <a:lnTo>
                    <a:pt x="18670277" y="9168877"/>
                  </a:lnTo>
                  <a:lnTo>
                    <a:pt x="18680117" y="9123520"/>
                  </a:lnTo>
                  <a:lnTo>
                    <a:pt x="18689264" y="9077908"/>
                  </a:lnTo>
                  <a:lnTo>
                    <a:pt x="18697712" y="9032048"/>
                  </a:lnTo>
                  <a:lnTo>
                    <a:pt x="18705455" y="8985945"/>
                  </a:lnTo>
                  <a:lnTo>
                    <a:pt x="18712489" y="8939604"/>
                  </a:lnTo>
                  <a:lnTo>
                    <a:pt x="18718807" y="8893033"/>
                  </a:lnTo>
                  <a:lnTo>
                    <a:pt x="18724403" y="8846236"/>
                  </a:lnTo>
                  <a:lnTo>
                    <a:pt x="18729271" y="8799220"/>
                  </a:lnTo>
                  <a:lnTo>
                    <a:pt x="18733407" y="8751989"/>
                  </a:lnTo>
                  <a:lnTo>
                    <a:pt x="18736803" y="8704550"/>
                  </a:lnTo>
                  <a:lnTo>
                    <a:pt x="18739455" y="8656909"/>
                  </a:lnTo>
                  <a:lnTo>
                    <a:pt x="18741356" y="8609072"/>
                  </a:lnTo>
                  <a:lnTo>
                    <a:pt x="18742501" y="8561043"/>
                  </a:lnTo>
                  <a:lnTo>
                    <a:pt x="18742884" y="8512829"/>
                  </a:lnTo>
                  <a:lnTo>
                    <a:pt x="18742884" y="0"/>
                  </a:lnTo>
                  <a:close/>
                </a:path>
              </a:pathLst>
            </a:custGeom>
            <a:solidFill>
              <a:srgbClr val="A78A4C"/>
            </a:solidFill>
          </p:spPr>
          <p:txBody>
            <a:bodyPr wrap="square" lIns="0" tIns="0" rIns="0" bIns="0" rtlCol="0"/>
            <a:lstStyle/>
            <a:p>
              <a:endParaRPr lang="en-US" sz="960" dirty="0"/>
            </a:p>
          </p:txBody>
        </p:sp>
        <p:sp>
          <p:nvSpPr>
            <p:cNvPr id="4" name="object 4"/>
            <p:cNvSpPr/>
            <p:nvPr/>
          </p:nvSpPr>
          <p:spPr>
            <a:xfrm>
              <a:off x="5902185" y="4960771"/>
              <a:ext cx="8300084" cy="2926715"/>
            </a:xfrm>
            <a:custGeom>
              <a:avLst/>
              <a:gdLst/>
              <a:ahLst/>
              <a:cxnLst/>
              <a:rect l="l" t="t" r="r" b="b"/>
              <a:pathLst>
                <a:path w="8300084" h="2926715">
                  <a:moveTo>
                    <a:pt x="2341994" y="2743"/>
                  </a:moveTo>
                  <a:lnTo>
                    <a:pt x="294259" y="2743"/>
                  </a:lnTo>
                  <a:lnTo>
                    <a:pt x="294259" y="306019"/>
                  </a:lnTo>
                  <a:lnTo>
                    <a:pt x="2341994" y="306019"/>
                  </a:lnTo>
                  <a:lnTo>
                    <a:pt x="2341994" y="2743"/>
                  </a:lnTo>
                  <a:close/>
                </a:path>
                <a:path w="8300084" h="2926715">
                  <a:moveTo>
                    <a:pt x="2342146" y="615683"/>
                  </a:moveTo>
                  <a:lnTo>
                    <a:pt x="2047836" y="615683"/>
                  </a:lnTo>
                  <a:lnTo>
                    <a:pt x="2047836" y="1755127"/>
                  </a:lnTo>
                  <a:lnTo>
                    <a:pt x="2046414" y="1805368"/>
                  </a:lnTo>
                  <a:lnTo>
                    <a:pt x="2042185" y="1854885"/>
                  </a:lnTo>
                  <a:lnTo>
                    <a:pt x="2035251" y="1903577"/>
                  </a:lnTo>
                  <a:lnTo>
                    <a:pt x="2025662" y="1951380"/>
                  </a:lnTo>
                  <a:lnTo>
                    <a:pt x="2013508" y="1998205"/>
                  </a:lnTo>
                  <a:lnTo>
                    <a:pt x="1998865" y="2043988"/>
                  </a:lnTo>
                  <a:lnTo>
                    <a:pt x="1981809" y="2088654"/>
                  </a:lnTo>
                  <a:lnTo>
                    <a:pt x="1962429" y="2132126"/>
                  </a:lnTo>
                  <a:lnTo>
                    <a:pt x="1940801" y="2174316"/>
                  </a:lnTo>
                  <a:lnTo>
                    <a:pt x="1916988" y="2215159"/>
                  </a:lnTo>
                  <a:lnTo>
                    <a:pt x="1891080" y="2254567"/>
                  </a:lnTo>
                  <a:lnTo>
                    <a:pt x="1863153" y="2292477"/>
                  </a:lnTo>
                  <a:lnTo>
                    <a:pt x="1833283" y="2328799"/>
                  </a:lnTo>
                  <a:lnTo>
                    <a:pt x="1801545" y="2363470"/>
                  </a:lnTo>
                  <a:lnTo>
                    <a:pt x="1768017" y="2396413"/>
                  </a:lnTo>
                  <a:lnTo>
                    <a:pt x="1732788" y="2427528"/>
                  </a:lnTo>
                  <a:lnTo>
                    <a:pt x="1732788" y="615683"/>
                  </a:lnTo>
                  <a:lnTo>
                    <a:pt x="1429397" y="615683"/>
                  </a:lnTo>
                  <a:lnTo>
                    <a:pt x="1429397" y="2592908"/>
                  </a:lnTo>
                  <a:lnTo>
                    <a:pt x="1379804" y="2606675"/>
                  </a:lnTo>
                  <a:lnTo>
                    <a:pt x="1329067" y="2617533"/>
                  </a:lnTo>
                  <a:lnTo>
                    <a:pt x="1277289" y="2625420"/>
                  </a:lnTo>
                  <a:lnTo>
                    <a:pt x="1224572" y="2630208"/>
                  </a:lnTo>
                  <a:lnTo>
                    <a:pt x="1171016" y="2631833"/>
                  </a:lnTo>
                  <a:lnTo>
                    <a:pt x="1122984" y="2630525"/>
                  </a:lnTo>
                  <a:lnTo>
                    <a:pt x="1075626" y="2626677"/>
                  </a:lnTo>
                  <a:lnTo>
                    <a:pt x="1029004" y="2620327"/>
                  </a:lnTo>
                  <a:lnTo>
                    <a:pt x="983170" y="2611577"/>
                  </a:lnTo>
                  <a:lnTo>
                    <a:pt x="938225" y="2600452"/>
                  </a:lnTo>
                  <a:lnTo>
                    <a:pt x="894207" y="2587053"/>
                  </a:lnTo>
                  <a:lnTo>
                    <a:pt x="851192" y="2571445"/>
                  </a:lnTo>
                  <a:lnTo>
                    <a:pt x="809256" y="2553678"/>
                  </a:lnTo>
                  <a:lnTo>
                    <a:pt x="768464" y="2533827"/>
                  </a:lnTo>
                  <a:lnTo>
                    <a:pt x="728865" y="2511958"/>
                  </a:lnTo>
                  <a:lnTo>
                    <a:pt x="690549" y="2488146"/>
                  </a:lnTo>
                  <a:lnTo>
                    <a:pt x="653580" y="2462453"/>
                  </a:lnTo>
                  <a:lnTo>
                    <a:pt x="618007" y="2434945"/>
                  </a:lnTo>
                  <a:lnTo>
                    <a:pt x="583920" y="2405684"/>
                  </a:lnTo>
                  <a:lnTo>
                    <a:pt x="551383" y="2374747"/>
                  </a:lnTo>
                  <a:lnTo>
                    <a:pt x="520446" y="2342210"/>
                  </a:lnTo>
                  <a:lnTo>
                    <a:pt x="491185" y="2308123"/>
                  </a:lnTo>
                  <a:lnTo>
                    <a:pt x="463677" y="2272550"/>
                  </a:lnTo>
                  <a:lnTo>
                    <a:pt x="437984" y="2235581"/>
                  </a:lnTo>
                  <a:lnTo>
                    <a:pt x="414172" y="2197265"/>
                  </a:lnTo>
                  <a:lnTo>
                    <a:pt x="392303" y="2157666"/>
                  </a:lnTo>
                  <a:lnTo>
                    <a:pt x="372452" y="2116874"/>
                  </a:lnTo>
                  <a:lnTo>
                    <a:pt x="354685" y="2074938"/>
                  </a:lnTo>
                  <a:lnTo>
                    <a:pt x="339077" y="2031923"/>
                  </a:lnTo>
                  <a:lnTo>
                    <a:pt x="325678" y="1987905"/>
                  </a:lnTo>
                  <a:lnTo>
                    <a:pt x="314553" y="1942960"/>
                  </a:lnTo>
                  <a:lnTo>
                    <a:pt x="305803" y="1897138"/>
                  </a:lnTo>
                  <a:lnTo>
                    <a:pt x="299453" y="1850517"/>
                  </a:lnTo>
                  <a:lnTo>
                    <a:pt x="295605" y="1803146"/>
                  </a:lnTo>
                  <a:lnTo>
                    <a:pt x="294297" y="1755127"/>
                  </a:lnTo>
                  <a:lnTo>
                    <a:pt x="294297" y="1702257"/>
                  </a:lnTo>
                  <a:lnTo>
                    <a:pt x="0" y="1702257"/>
                  </a:lnTo>
                  <a:lnTo>
                    <a:pt x="0" y="1755127"/>
                  </a:lnTo>
                  <a:lnTo>
                    <a:pt x="977" y="1803323"/>
                  </a:lnTo>
                  <a:lnTo>
                    <a:pt x="3886" y="1851025"/>
                  </a:lnTo>
                  <a:lnTo>
                    <a:pt x="8686" y="1898205"/>
                  </a:lnTo>
                  <a:lnTo>
                    <a:pt x="15354" y="1944814"/>
                  </a:lnTo>
                  <a:lnTo>
                    <a:pt x="23825" y="1990826"/>
                  </a:lnTo>
                  <a:lnTo>
                    <a:pt x="34086" y="2036203"/>
                  </a:lnTo>
                  <a:lnTo>
                    <a:pt x="46088" y="2080895"/>
                  </a:lnTo>
                  <a:lnTo>
                    <a:pt x="59791" y="2124862"/>
                  </a:lnTo>
                  <a:lnTo>
                    <a:pt x="75171" y="2168080"/>
                  </a:lnTo>
                  <a:lnTo>
                    <a:pt x="92163" y="2210511"/>
                  </a:lnTo>
                  <a:lnTo>
                    <a:pt x="110756" y="2252103"/>
                  </a:lnTo>
                  <a:lnTo>
                    <a:pt x="130898" y="2292832"/>
                  </a:lnTo>
                  <a:lnTo>
                    <a:pt x="152565" y="2332647"/>
                  </a:lnTo>
                  <a:lnTo>
                    <a:pt x="175691" y="2371534"/>
                  </a:lnTo>
                  <a:lnTo>
                    <a:pt x="200266" y="2409418"/>
                  </a:lnTo>
                  <a:lnTo>
                    <a:pt x="226237" y="2446299"/>
                  </a:lnTo>
                  <a:lnTo>
                    <a:pt x="253568" y="2482100"/>
                  </a:lnTo>
                  <a:lnTo>
                    <a:pt x="282232" y="2516822"/>
                  </a:lnTo>
                  <a:lnTo>
                    <a:pt x="312178" y="2550401"/>
                  </a:lnTo>
                  <a:lnTo>
                    <a:pt x="343369" y="2582811"/>
                  </a:lnTo>
                  <a:lnTo>
                    <a:pt x="375780" y="2614015"/>
                  </a:lnTo>
                  <a:lnTo>
                    <a:pt x="409359" y="2643962"/>
                  </a:lnTo>
                  <a:lnTo>
                    <a:pt x="444068" y="2672626"/>
                  </a:lnTo>
                  <a:lnTo>
                    <a:pt x="479882" y="2699969"/>
                  </a:lnTo>
                  <a:lnTo>
                    <a:pt x="516750" y="2725940"/>
                  </a:lnTo>
                  <a:lnTo>
                    <a:pt x="554634" y="2750515"/>
                  </a:lnTo>
                  <a:lnTo>
                    <a:pt x="593509" y="2773654"/>
                  </a:lnTo>
                  <a:lnTo>
                    <a:pt x="633323" y="2795308"/>
                  </a:lnTo>
                  <a:lnTo>
                    <a:pt x="674052" y="2815463"/>
                  </a:lnTo>
                  <a:lnTo>
                    <a:pt x="715645" y="2834055"/>
                  </a:lnTo>
                  <a:lnTo>
                    <a:pt x="758075" y="2851061"/>
                  </a:lnTo>
                  <a:lnTo>
                    <a:pt x="801293" y="2866428"/>
                  </a:lnTo>
                  <a:lnTo>
                    <a:pt x="845261" y="2880131"/>
                  </a:lnTo>
                  <a:lnTo>
                    <a:pt x="889952" y="2892145"/>
                  </a:lnTo>
                  <a:lnTo>
                    <a:pt x="935316" y="2902407"/>
                  </a:lnTo>
                  <a:lnTo>
                    <a:pt x="981329" y="2910878"/>
                  </a:lnTo>
                  <a:lnTo>
                    <a:pt x="1027938" y="2917545"/>
                  </a:lnTo>
                  <a:lnTo>
                    <a:pt x="1075118" y="2922346"/>
                  </a:lnTo>
                  <a:lnTo>
                    <a:pt x="1122819" y="2925267"/>
                  </a:lnTo>
                  <a:lnTo>
                    <a:pt x="1171016" y="2926245"/>
                  </a:lnTo>
                  <a:lnTo>
                    <a:pt x="1219225" y="2925267"/>
                  </a:lnTo>
                  <a:lnTo>
                    <a:pt x="1266926" y="2922346"/>
                  </a:lnTo>
                  <a:lnTo>
                    <a:pt x="1314119" y="2917545"/>
                  </a:lnTo>
                  <a:lnTo>
                    <a:pt x="1360741" y="2910878"/>
                  </a:lnTo>
                  <a:lnTo>
                    <a:pt x="1406753" y="2902407"/>
                  </a:lnTo>
                  <a:lnTo>
                    <a:pt x="1452130" y="2892145"/>
                  </a:lnTo>
                  <a:lnTo>
                    <a:pt x="1496822" y="2880131"/>
                  </a:lnTo>
                  <a:lnTo>
                    <a:pt x="1540802" y="2866428"/>
                  </a:lnTo>
                  <a:lnTo>
                    <a:pt x="1584020" y="2851061"/>
                  </a:lnTo>
                  <a:lnTo>
                    <a:pt x="1626450" y="2834055"/>
                  </a:lnTo>
                  <a:lnTo>
                    <a:pt x="1668043" y="2815463"/>
                  </a:lnTo>
                  <a:lnTo>
                    <a:pt x="1708772" y="2795308"/>
                  </a:lnTo>
                  <a:lnTo>
                    <a:pt x="1748599" y="2773654"/>
                  </a:lnTo>
                  <a:lnTo>
                    <a:pt x="1787474" y="2750515"/>
                  </a:lnTo>
                  <a:lnTo>
                    <a:pt x="1825371" y="2725940"/>
                  </a:lnTo>
                  <a:lnTo>
                    <a:pt x="1862239" y="2699969"/>
                  </a:lnTo>
                  <a:lnTo>
                    <a:pt x="1898053" y="2672626"/>
                  </a:lnTo>
                  <a:lnTo>
                    <a:pt x="1932762" y="2643962"/>
                  </a:lnTo>
                  <a:lnTo>
                    <a:pt x="1966341" y="2614015"/>
                  </a:lnTo>
                  <a:lnTo>
                    <a:pt x="1998751" y="2582811"/>
                  </a:lnTo>
                  <a:lnTo>
                    <a:pt x="2029955" y="2550401"/>
                  </a:lnTo>
                  <a:lnTo>
                    <a:pt x="2059901" y="2516822"/>
                  </a:lnTo>
                  <a:lnTo>
                    <a:pt x="2088565" y="2482100"/>
                  </a:lnTo>
                  <a:lnTo>
                    <a:pt x="2115896" y="2446299"/>
                  </a:lnTo>
                  <a:lnTo>
                    <a:pt x="2141867" y="2409418"/>
                  </a:lnTo>
                  <a:lnTo>
                    <a:pt x="2166442" y="2371534"/>
                  </a:lnTo>
                  <a:lnTo>
                    <a:pt x="2189581" y="2332647"/>
                  </a:lnTo>
                  <a:lnTo>
                    <a:pt x="2211235" y="2292832"/>
                  </a:lnTo>
                  <a:lnTo>
                    <a:pt x="2231377" y="2252103"/>
                  </a:lnTo>
                  <a:lnTo>
                    <a:pt x="2249970" y="2210511"/>
                  </a:lnTo>
                  <a:lnTo>
                    <a:pt x="2266975" y="2168080"/>
                  </a:lnTo>
                  <a:lnTo>
                    <a:pt x="2282342" y="2124862"/>
                  </a:lnTo>
                  <a:lnTo>
                    <a:pt x="2296045" y="2080895"/>
                  </a:lnTo>
                  <a:lnTo>
                    <a:pt x="2308047" y="2036203"/>
                  </a:lnTo>
                  <a:lnTo>
                    <a:pt x="2318308" y="1990826"/>
                  </a:lnTo>
                  <a:lnTo>
                    <a:pt x="2326792" y="1944814"/>
                  </a:lnTo>
                  <a:lnTo>
                    <a:pt x="2333447" y="1898205"/>
                  </a:lnTo>
                  <a:lnTo>
                    <a:pt x="2338260" y="1851025"/>
                  </a:lnTo>
                  <a:lnTo>
                    <a:pt x="2341168" y="1803323"/>
                  </a:lnTo>
                  <a:lnTo>
                    <a:pt x="2342146" y="1755127"/>
                  </a:lnTo>
                  <a:lnTo>
                    <a:pt x="2342146" y="615683"/>
                  </a:lnTo>
                  <a:close/>
                </a:path>
                <a:path w="8300084" h="2926715">
                  <a:moveTo>
                    <a:pt x="3693503" y="10655"/>
                  </a:moveTo>
                  <a:lnTo>
                    <a:pt x="3493554" y="10655"/>
                  </a:lnTo>
                  <a:lnTo>
                    <a:pt x="3493554" y="695579"/>
                  </a:lnTo>
                  <a:lnTo>
                    <a:pt x="3492233" y="729081"/>
                  </a:lnTo>
                  <a:lnTo>
                    <a:pt x="3481667" y="780173"/>
                  </a:lnTo>
                  <a:lnTo>
                    <a:pt x="3444214" y="820216"/>
                  </a:lnTo>
                  <a:lnTo>
                    <a:pt x="3401885" y="827709"/>
                  </a:lnTo>
                  <a:lnTo>
                    <a:pt x="3391535" y="827455"/>
                  </a:lnTo>
                  <a:lnTo>
                    <a:pt x="3381540" y="826731"/>
                  </a:lnTo>
                  <a:lnTo>
                    <a:pt x="3371900" y="825538"/>
                  </a:lnTo>
                  <a:lnTo>
                    <a:pt x="3362655" y="823887"/>
                  </a:lnTo>
                  <a:lnTo>
                    <a:pt x="3328378" y="817079"/>
                  </a:lnTo>
                  <a:lnTo>
                    <a:pt x="3328378" y="972439"/>
                  </a:lnTo>
                  <a:lnTo>
                    <a:pt x="3353130" y="977099"/>
                  </a:lnTo>
                  <a:lnTo>
                    <a:pt x="3378606" y="980427"/>
                  </a:lnTo>
                  <a:lnTo>
                    <a:pt x="3404768" y="982408"/>
                  </a:lnTo>
                  <a:lnTo>
                    <a:pt x="3431616" y="983068"/>
                  </a:lnTo>
                  <a:lnTo>
                    <a:pt x="3493008" y="978242"/>
                  </a:lnTo>
                  <a:lnTo>
                    <a:pt x="3546208" y="963777"/>
                  </a:lnTo>
                  <a:lnTo>
                    <a:pt x="3591217" y="939647"/>
                  </a:lnTo>
                  <a:lnTo>
                    <a:pt x="3628059" y="905852"/>
                  </a:lnTo>
                  <a:lnTo>
                    <a:pt x="3651631" y="872070"/>
                  </a:lnTo>
                  <a:lnTo>
                    <a:pt x="3669957" y="832421"/>
                  </a:lnTo>
                  <a:lnTo>
                    <a:pt x="3683038" y="786917"/>
                  </a:lnTo>
                  <a:lnTo>
                    <a:pt x="3690886" y="735558"/>
                  </a:lnTo>
                  <a:lnTo>
                    <a:pt x="3693503" y="678345"/>
                  </a:lnTo>
                  <a:lnTo>
                    <a:pt x="3693503" y="10655"/>
                  </a:lnTo>
                  <a:close/>
                </a:path>
                <a:path w="8300084" h="2926715">
                  <a:moveTo>
                    <a:pt x="3722281" y="2862669"/>
                  </a:moveTo>
                  <a:lnTo>
                    <a:pt x="3378631" y="2862669"/>
                  </a:lnTo>
                  <a:lnTo>
                    <a:pt x="3378631" y="2188299"/>
                  </a:lnTo>
                  <a:lnTo>
                    <a:pt x="3328365" y="2188299"/>
                  </a:lnTo>
                  <a:lnTo>
                    <a:pt x="3328365" y="2862669"/>
                  </a:lnTo>
                  <a:lnTo>
                    <a:pt x="3328365" y="2909659"/>
                  </a:lnTo>
                  <a:lnTo>
                    <a:pt x="3722281" y="2909659"/>
                  </a:lnTo>
                  <a:lnTo>
                    <a:pt x="3722281" y="2862669"/>
                  </a:lnTo>
                  <a:close/>
                </a:path>
                <a:path w="8300084" h="2926715">
                  <a:moveTo>
                    <a:pt x="3896817" y="2188807"/>
                  </a:moveTo>
                  <a:lnTo>
                    <a:pt x="3846550" y="2188807"/>
                  </a:lnTo>
                  <a:lnTo>
                    <a:pt x="3846550" y="2909659"/>
                  </a:lnTo>
                  <a:lnTo>
                    <a:pt x="3896817" y="2909659"/>
                  </a:lnTo>
                  <a:lnTo>
                    <a:pt x="3896817" y="2188807"/>
                  </a:lnTo>
                  <a:close/>
                </a:path>
                <a:path w="8300084" h="2926715">
                  <a:moveTo>
                    <a:pt x="4225683" y="1136726"/>
                  </a:moveTo>
                  <a:lnTo>
                    <a:pt x="4106659" y="1136726"/>
                  </a:lnTo>
                  <a:lnTo>
                    <a:pt x="3991648" y="1606753"/>
                  </a:lnTo>
                  <a:lnTo>
                    <a:pt x="3981513" y="1653908"/>
                  </a:lnTo>
                  <a:lnTo>
                    <a:pt x="3973957" y="1696250"/>
                  </a:lnTo>
                  <a:lnTo>
                    <a:pt x="3968953" y="1733804"/>
                  </a:lnTo>
                  <a:lnTo>
                    <a:pt x="3959491" y="1679143"/>
                  </a:lnTo>
                  <a:lnTo>
                    <a:pt x="3950284" y="1631746"/>
                  </a:lnTo>
                  <a:lnTo>
                    <a:pt x="3941330" y="1591614"/>
                  </a:lnTo>
                  <a:lnTo>
                    <a:pt x="3932618" y="1558721"/>
                  </a:lnTo>
                  <a:lnTo>
                    <a:pt x="3812565" y="1136726"/>
                  </a:lnTo>
                  <a:lnTo>
                    <a:pt x="3696030" y="1136726"/>
                  </a:lnTo>
                  <a:lnTo>
                    <a:pt x="3578961" y="1556766"/>
                  </a:lnTo>
                  <a:lnTo>
                    <a:pt x="3564547" y="1615782"/>
                  </a:lnTo>
                  <a:lnTo>
                    <a:pt x="3554171" y="1665605"/>
                  </a:lnTo>
                  <a:lnTo>
                    <a:pt x="3546081" y="1712302"/>
                  </a:lnTo>
                  <a:lnTo>
                    <a:pt x="3543033" y="1733804"/>
                  </a:lnTo>
                  <a:lnTo>
                    <a:pt x="3537000" y="1693760"/>
                  </a:lnTo>
                  <a:lnTo>
                    <a:pt x="3529253" y="1650746"/>
                  </a:lnTo>
                  <a:lnTo>
                    <a:pt x="3519805" y="1604772"/>
                  </a:lnTo>
                  <a:lnTo>
                    <a:pt x="3508654" y="1555838"/>
                  </a:lnTo>
                  <a:lnTo>
                    <a:pt x="3405848" y="1136726"/>
                  </a:lnTo>
                  <a:lnTo>
                    <a:pt x="3285794" y="1136726"/>
                  </a:lnTo>
                  <a:lnTo>
                    <a:pt x="3380244" y="1495856"/>
                  </a:lnTo>
                  <a:lnTo>
                    <a:pt x="3473259" y="1855812"/>
                  </a:lnTo>
                  <a:lnTo>
                    <a:pt x="3601047" y="1855812"/>
                  </a:lnTo>
                  <a:lnTo>
                    <a:pt x="3724021" y="1415059"/>
                  </a:lnTo>
                  <a:lnTo>
                    <a:pt x="3733266" y="1377619"/>
                  </a:lnTo>
                  <a:lnTo>
                    <a:pt x="3743680" y="1330223"/>
                  </a:lnTo>
                  <a:lnTo>
                    <a:pt x="3751694" y="1289418"/>
                  </a:lnTo>
                  <a:lnTo>
                    <a:pt x="3754551" y="1272476"/>
                  </a:lnTo>
                  <a:lnTo>
                    <a:pt x="3756380" y="1284846"/>
                  </a:lnTo>
                  <a:lnTo>
                    <a:pt x="3768801" y="1346073"/>
                  </a:lnTo>
                  <a:lnTo>
                    <a:pt x="3779621" y="1392732"/>
                  </a:lnTo>
                  <a:lnTo>
                    <a:pt x="3910431" y="1855812"/>
                  </a:lnTo>
                  <a:lnTo>
                    <a:pt x="4038333" y="1855812"/>
                  </a:lnTo>
                  <a:lnTo>
                    <a:pt x="4225683" y="1136726"/>
                  </a:lnTo>
                  <a:close/>
                </a:path>
                <a:path w="8300084" h="2926715">
                  <a:moveTo>
                    <a:pt x="4445063" y="1136802"/>
                  </a:moveTo>
                  <a:lnTo>
                    <a:pt x="4327487" y="1136802"/>
                  </a:lnTo>
                  <a:lnTo>
                    <a:pt x="4327487" y="1855901"/>
                  </a:lnTo>
                  <a:lnTo>
                    <a:pt x="4445063" y="1855901"/>
                  </a:lnTo>
                  <a:lnTo>
                    <a:pt x="4445063" y="1136802"/>
                  </a:lnTo>
                  <a:close/>
                </a:path>
                <a:path w="8300084" h="2926715">
                  <a:moveTo>
                    <a:pt x="4478744" y="10642"/>
                  </a:moveTo>
                  <a:lnTo>
                    <a:pt x="4279824" y="10642"/>
                  </a:lnTo>
                  <a:lnTo>
                    <a:pt x="4279824" y="443903"/>
                  </a:lnTo>
                  <a:lnTo>
                    <a:pt x="4278096" y="481114"/>
                  </a:lnTo>
                  <a:lnTo>
                    <a:pt x="4264368" y="538721"/>
                  </a:lnTo>
                  <a:lnTo>
                    <a:pt x="4236555" y="574484"/>
                  </a:lnTo>
                  <a:lnTo>
                    <a:pt x="4192359" y="592086"/>
                  </a:lnTo>
                  <a:lnTo>
                    <a:pt x="4163999" y="594296"/>
                  </a:lnTo>
                  <a:lnTo>
                    <a:pt x="4137253" y="592074"/>
                  </a:lnTo>
                  <a:lnTo>
                    <a:pt x="4094162" y="574357"/>
                  </a:lnTo>
                  <a:lnTo>
                    <a:pt x="4065054" y="538467"/>
                  </a:lnTo>
                  <a:lnTo>
                    <a:pt x="4050436" y="481482"/>
                  </a:lnTo>
                  <a:lnTo>
                    <a:pt x="4048595" y="444931"/>
                  </a:lnTo>
                  <a:lnTo>
                    <a:pt x="4048595" y="10642"/>
                  </a:lnTo>
                  <a:lnTo>
                    <a:pt x="3848646" y="10642"/>
                  </a:lnTo>
                  <a:lnTo>
                    <a:pt x="3848646" y="460616"/>
                  </a:lnTo>
                  <a:lnTo>
                    <a:pt x="3851872" y="516051"/>
                  </a:lnTo>
                  <a:lnTo>
                    <a:pt x="3861574" y="566039"/>
                  </a:lnTo>
                  <a:lnTo>
                    <a:pt x="3877741" y="610590"/>
                  </a:lnTo>
                  <a:lnTo>
                    <a:pt x="3900373" y="649706"/>
                  </a:lnTo>
                  <a:lnTo>
                    <a:pt x="3929481" y="683387"/>
                  </a:lnTo>
                  <a:lnTo>
                    <a:pt x="3964609" y="711263"/>
                  </a:lnTo>
                  <a:lnTo>
                    <a:pt x="4005326" y="732942"/>
                  </a:lnTo>
                  <a:lnTo>
                    <a:pt x="4051617" y="748423"/>
                  </a:lnTo>
                  <a:lnTo>
                    <a:pt x="4103484" y="757720"/>
                  </a:lnTo>
                  <a:lnTo>
                    <a:pt x="4160913" y="760806"/>
                  </a:lnTo>
                  <a:lnTo>
                    <a:pt x="4219702" y="757631"/>
                  </a:lnTo>
                  <a:lnTo>
                    <a:pt x="4272699" y="748068"/>
                  </a:lnTo>
                  <a:lnTo>
                    <a:pt x="4319892" y="732129"/>
                  </a:lnTo>
                  <a:lnTo>
                    <a:pt x="4361294" y="709815"/>
                  </a:lnTo>
                  <a:lnTo>
                    <a:pt x="4396892" y="681113"/>
                  </a:lnTo>
                  <a:lnTo>
                    <a:pt x="4426369" y="646607"/>
                  </a:lnTo>
                  <a:lnTo>
                    <a:pt x="4449292" y="606856"/>
                  </a:lnTo>
                  <a:lnTo>
                    <a:pt x="4465663" y="561860"/>
                  </a:lnTo>
                  <a:lnTo>
                    <a:pt x="4475480" y="511594"/>
                  </a:lnTo>
                  <a:lnTo>
                    <a:pt x="4478744" y="456082"/>
                  </a:lnTo>
                  <a:lnTo>
                    <a:pt x="4478744" y="10642"/>
                  </a:lnTo>
                  <a:close/>
                </a:path>
                <a:path w="8300084" h="2926715">
                  <a:moveTo>
                    <a:pt x="4523029" y="2188299"/>
                  </a:moveTo>
                  <a:lnTo>
                    <a:pt x="4003802" y="2188299"/>
                  </a:lnTo>
                  <a:lnTo>
                    <a:pt x="4003802" y="2236559"/>
                  </a:lnTo>
                  <a:lnTo>
                    <a:pt x="4238028" y="2236559"/>
                  </a:lnTo>
                  <a:lnTo>
                    <a:pt x="4238028" y="2909659"/>
                  </a:lnTo>
                  <a:lnTo>
                    <a:pt x="4288815" y="2909659"/>
                  </a:lnTo>
                  <a:lnTo>
                    <a:pt x="4288815" y="2236559"/>
                  </a:lnTo>
                  <a:lnTo>
                    <a:pt x="4523029" y="2236559"/>
                  </a:lnTo>
                  <a:lnTo>
                    <a:pt x="4523029" y="2188299"/>
                  </a:lnTo>
                  <a:close/>
                </a:path>
                <a:path w="8300084" h="2926715">
                  <a:moveTo>
                    <a:pt x="4680216" y="2188807"/>
                  </a:moveTo>
                  <a:lnTo>
                    <a:pt x="4629950" y="2188807"/>
                  </a:lnTo>
                  <a:lnTo>
                    <a:pt x="4629950" y="2909659"/>
                  </a:lnTo>
                  <a:lnTo>
                    <a:pt x="4680216" y="2909659"/>
                  </a:lnTo>
                  <a:lnTo>
                    <a:pt x="4680216" y="2188807"/>
                  </a:lnTo>
                  <a:close/>
                </a:path>
                <a:path w="8300084" h="2926715">
                  <a:moveTo>
                    <a:pt x="5094795" y="1136992"/>
                  </a:moveTo>
                  <a:lnTo>
                    <a:pt x="4554296" y="1136992"/>
                  </a:lnTo>
                  <a:lnTo>
                    <a:pt x="4554296" y="1237322"/>
                  </a:lnTo>
                  <a:lnTo>
                    <a:pt x="4765700" y="1237322"/>
                  </a:lnTo>
                  <a:lnTo>
                    <a:pt x="4765700" y="1855812"/>
                  </a:lnTo>
                  <a:lnTo>
                    <a:pt x="4883277" y="1855812"/>
                  </a:lnTo>
                  <a:lnTo>
                    <a:pt x="4883277" y="1237322"/>
                  </a:lnTo>
                  <a:lnTo>
                    <a:pt x="5094795" y="1237322"/>
                  </a:lnTo>
                  <a:lnTo>
                    <a:pt x="5094795" y="1136992"/>
                  </a:lnTo>
                  <a:close/>
                </a:path>
                <a:path w="8300084" h="2926715">
                  <a:moveTo>
                    <a:pt x="5114887" y="53162"/>
                  </a:moveTo>
                  <a:lnTo>
                    <a:pt x="5067541" y="34048"/>
                  </a:lnTo>
                  <a:lnTo>
                    <a:pt x="5020538" y="19164"/>
                  </a:lnTo>
                  <a:lnTo>
                    <a:pt x="4973879" y="8534"/>
                  </a:lnTo>
                  <a:lnTo>
                    <a:pt x="4927587" y="2146"/>
                  </a:lnTo>
                  <a:lnTo>
                    <a:pt x="4881689" y="12"/>
                  </a:lnTo>
                  <a:lnTo>
                    <a:pt x="4820424" y="3594"/>
                  </a:lnTo>
                  <a:lnTo>
                    <a:pt x="4766094" y="14325"/>
                  </a:lnTo>
                  <a:lnTo>
                    <a:pt x="4718697" y="32194"/>
                  </a:lnTo>
                  <a:lnTo>
                    <a:pt x="4678223" y="57200"/>
                  </a:lnTo>
                  <a:lnTo>
                    <a:pt x="4645850" y="88646"/>
                  </a:lnTo>
                  <a:lnTo>
                    <a:pt x="4622724" y="125717"/>
                  </a:lnTo>
                  <a:lnTo>
                    <a:pt x="4608842" y="168389"/>
                  </a:lnTo>
                  <a:lnTo>
                    <a:pt x="4604220" y="216687"/>
                  </a:lnTo>
                  <a:lnTo>
                    <a:pt x="4605299" y="243103"/>
                  </a:lnTo>
                  <a:lnTo>
                    <a:pt x="4613973" y="290449"/>
                  </a:lnTo>
                  <a:lnTo>
                    <a:pt x="4631398" y="330758"/>
                  </a:lnTo>
                  <a:lnTo>
                    <a:pt x="4658068" y="366166"/>
                  </a:lnTo>
                  <a:lnTo>
                    <a:pt x="4695202" y="397751"/>
                  </a:lnTo>
                  <a:lnTo>
                    <a:pt x="4749216" y="429653"/>
                  </a:lnTo>
                  <a:lnTo>
                    <a:pt x="4818964" y="462445"/>
                  </a:lnTo>
                  <a:lnTo>
                    <a:pt x="4847272" y="475869"/>
                  </a:lnTo>
                  <a:lnTo>
                    <a:pt x="4889500" y="499389"/>
                  </a:lnTo>
                  <a:lnTo>
                    <a:pt x="4913871" y="528955"/>
                  </a:lnTo>
                  <a:lnTo>
                    <a:pt x="4915954" y="543191"/>
                  </a:lnTo>
                  <a:lnTo>
                    <a:pt x="4914658" y="554786"/>
                  </a:lnTo>
                  <a:lnTo>
                    <a:pt x="4883493" y="589699"/>
                  </a:lnTo>
                  <a:lnTo>
                    <a:pt x="4830280" y="598322"/>
                  </a:lnTo>
                  <a:lnTo>
                    <a:pt x="4803965" y="597293"/>
                  </a:lnTo>
                  <a:lnTo>
                    <a:pt x="4747552" y="589089"/>
                  </a:lnTo>
                  <a:lnTo>
                    <a:pt x="4687049" y="572884"/>
                  </a:lnTo>
                  <a:lnTo>
                    <a:pt x="4627867" y="549973"/>
                  </a:lnTo>
                  <a:lnTo>
                    <a:pt x="4599152" y="536067"/>
                  </a:lnTo>
                  <a:lnTo>
                    <a:pt x="4599152" y="714248"/>
                  </a:lnTo>
                  <a:lnTo>
                    <a:pt x="4652035" y="736231"/>
                  </a:lnTo>
                  <a:lnTo>
                    <a:pt x="4702899" y="750468"/>
                  </a:lnTo>
                  <a:lnTo>
                    <a:pt x="4758664" y="758228"/>
                  </a:lnTo>
                  <a:lnTo>
                    <a:pt x="4826266" y="760806"/>
                  </a:lnTo>
                  <a:lnTo>
                    <a:pt x="4868900" y="758964"/>
                  </a:lnTo>
                  <a:lnTo>
                    <a:pt x="4908728" y="753440"/>
                  </a:lnTo>
                  <a:lnTo>
                    <a:pt x="4945748" y="744207"/>
                  </a:lnTo>
                  <a:lnTo>
                    <a:pt x="5010785" y="714933"/>
                  </a:lnTo>
                  <a:lnTo>
                    <a:pt x="5060874" y="673392"/>
                  </a:lnTo>
                  <a:lnTo>
                    <a:pt x="5095367" y="620509"/>
                  </a:lnTo>
                  <a:lnTo>
                    <a:pt x="5112715" y="559422"/>
                  </a:lnTo>
                  <a:lnTo>
                    <a:pt x="5114887" y="525957"/>
                  </a:lnTo>
                  <a:lnTo>
                    <a:pt x="5112575" y="490080"/>
                  </a:lnTo>
                  <a:lnTo>
                    <a:pt x="5094071" y="427951"/>
                  </a:lnTo>
                  <a:lnTo>
                    <a:pt x="5055692" y="377418"/>
                  </a:lnTo>
                  <a:lnTo>
                    <a:pt x="4989614" y="331203"/>
                  </a:lnTo>
                  <a:lnTo>
                    <a:pt x="4945697" y="309283"/>
                  </a:lnTo>
                  <a:lnTo>
                    <a:pt x="4900866" y="288277"/>
                  </a:lnTo>
                  <a:lnTo>
                    <a:pt x="4865649" y="270814"/>
                  </a:lnTo>
                  <a:lnTo>
                    <a:pt x="4824082" y="246532"/>
                  </a:lnTo>
                  <a:lnTo>
                    <a:pt x="4801578" y="207594"/>
                  </a:lnTo>
                  <a:lnTo>
                    <a:pt x="4802683" y="197866"/>
                  </a:lnTo>
                  <a:lnTo>
                    <a:pt x="4829378" y="167678"/>
                  </a:lnTo>
                  <a:lnTo>
                    <a:pt x="4875606" y="160007"/>
                  </a:lnTo>
                  <a:lnTo>
                    <a:pt x="4914912" y="162991"/>
                  </a:lnTo>
                  <a:lnTo>
                    <a:pt x="4957750" y="171919"/>
                  </a:lnTo>
                  <a:lnTo>
                    <a:pt x="5004105" y="186791"/>
                  </a:lnTo>
                  <a:lnTo>
                    <a:pt x="5053977" y="207594"/>
                  </a:lnTo>
                  <a:lnTo>
                    <a:pt x="5114887" y="53162"/>
                  </a:lnTo>
                  <a:close/>
                </a:path>
                <a:path w="8300084" h="2926715">
                  <a:moveTo>
                    <a:pt x="5433606" y="2546273"/>
                  </a:moveTo>
                  <a:lnTo>
                    <a:pt x="5167896" y="2546273"/>
                  </a:lnTo>
                  <a:lnTo>
                    <a:pt x="5167896" y="2593657"/>
                  </a:lnTo>
                  <a:lnTo>
                    <a:pt x="5382412" y="2593657"/>
                  </a:lnTo>
                  <a:lnTo>
                    <a:pt x="5382412" y="2846971"/>
                  </a:lnTo>
                  <a:lnTo>
                    <a:pt x="5345773" y="2859303"/>
                  </a:lnTo>
                  <a:lnTo>
                    <a:pt x="5305361" y="2868104"/>
                  </a:lnTo>
                  <a:lnTo>
                    <a:pt x="5261178" y="2873400"/>
                  </a:lnTo>
                  <a:lnTo>
                    <a:pt x="5213223" y="2875165"/>
                  </a:lnTo>
                  <a:lnTo>
                    <a:pt x="5154688" y="2871876"/>
                  </a:lnTo>
                  <a:lnTo>
                    <a:pt x="5102098" y="2862034"/>
                  </a:lnTo>
                  <a:lnTo>
                    <a:pt x="5055463" y="2845612"/>
                  </a:lnTo>
                  <a:lnTo>
                    <a:pt x="5014773" y="2822638"/>
                  </a:lnTo>
                  <a:lnTo>
                    <a:pt x="4980038" y="2793085"/>
                  </a:lnTo>
                  <a:lnTo>
                    <a:pt x="4951476" y="2757030"/>
                  </a:lnTo>
                  <a:lnTo>
                    <a:pt x="4929251" y="2714510"/>
                  </a:lnTo>
                  <a:lnTo>
                    <a:pt x="4913363" y="2665539"/>
                  </a:lnTo>
                  <a:lnTo>
                    <a:pt x="4903825" y="2610116"/>
                  </a:lnTo>
                  <a:lnTo>
                    <a:pt x="4900638" y="2548242"/>
                  </a:lnTo>
                  <a:lnTo>
                    <a:pt x="4903990" y="2490927"/>
                  </a:lnTo>
                  <a:lnTo>
                    <a:pt x="4914023" y="2438552"/>
                  </a:lnTo>
                  <a:lnTo>
                    <a:pt x="4930749" y="2391079"/>
                  </a:lnTo>
                  <a:lnTo>
                    <a:pt x="4954155" y="2348534"/>
                  </a:lnTo>
                  <a:lnTo>
                    <a:pt x="4984267" y="2310892"/>
                  </a:lnTo>
                  <a:lnTo>
                    <a:pt x="5020056" y="2279192"/>
                  </a:lnTo>
                  <a:lnTo>
                    <a:pt x="5060569" y="2254542"/>
                  </a:lnTo>
                  <a:lnTo>
                    <a:pt x="5105781" y="2236940"/>
                  </a:lnTo>
                  <a:lnTo>
                    <a:pt x="5155704" y="2226373"/>
                  </a:lnTo>
                  <a:lnTo>
                    <a:pt x="5210327" y="2222855"/>
                  </a:lnTo>
                  <a:lnTo>
                    <a:pt x="5260162" y="2225560"/>
                  </a:lnTo>
                  <a:lnTo>
                    <a:pt x="5309171" y="2233688"/>
                  </a:lnTo>
                  <a:lnTo>
                    <a:pt x="5357317" y="2247239"/>
                  </a:lnTo>
                  <a:lnTo>
                    <a:pt x="5404599" y="2266213"/>
                  </a:lnTo>
                  <a:lnTo>
                    <a:pt x="5424830" y="2220899"/>
                  </a:lnTo>
                  <a:lnTo>
                    <a:pt x="5376430" y="2201913"/>
                  </a:lnTo>
                  <a:lnTo>
                    <a:pt x="5325021" y="2188324"/>
                  </a:lnTo>
                  <a:lnTo>
                    <a:pt x="5270627" y="2180158"/>
                  </a:lnTo>
                  <a:lnTo>
                    <a:pt x="5213223" y="2177427"/>
                  </a:lnTo>
                  <a:lnTo>
                    <a:pt x="5160327" y="2180336"/>
                  </a:lnTo>
                  <a:lnTo>
                    <a:pt x="5110518" y="2189035"/>
                  </a:lnTo>
                  <a:lnTo>
                    <a:pt x="5063833" y="2203526"/>
                  </a:lnTo>
                  <a:lnTo>
                    <a:pt x="5020284" y="2223782"/>
                  </a:lnTo>
                  <a:lnTo>
                    <a:pt x="4980660" y="2249424"/>
                  </a:lnTo>
                  <a:lnTo>
                    <a:pt x="4945913" y="2279853"/>
                  </a:lnTo>
                  <a:lnTo>
                    <a:pt x="4916030" y="2315108"/>
                  </a:lnTo>
                  <a:lnTo>
                    <a:pt x="4891036" y="2355202"/>
                  </a:lnTo>
                  <a:lnTo>
                    <a:pt x="4871313" y="2399271"/>
                  </a:lnTo>
                  <a:lnTo>
                    <a:pt x="4857216" y="2446464"/>
                  </a:lnTo>
                  <a:lnTo>
                    <a:pt x="4848758" y="2496769"/>
                  </a:lnTo>
                  <a:lnTo>
                    <a:pt x="4845926" y="2550198"/>
                  </a:lnTo>
                  <a:lnTo>
                    <a:pt x="4848466" y="2606814"/>
                  </a:lnTo>
                  <a:lnTo>
                    <a:pt x="4856048" y="2658973"/>
                  </a:lnTo>
                  <a:lnTo>
                    <a:pt x="4868684" y="2706674"/>
                  </a:lnTo>
                  <a:lnTo>
                    <a:pt x="4886376" y="2749943"/>
                  </a:lnTo>
                  <a:lnTo>
                    <a:pt x="4909109" y="2788755"/>
                  </a:lnTo>
                  <a:lnTo>
                    <a:pt x="4936883" y="2823133"/>
                  </a:lnTo>
                  <a:lnTo>
                    <a:pt x="4969434" y="2852572"/>
                  </a:lnTo>
                  <a:lnTo>
                    <a:pt x="5006416" y="2876664"/>
                  </a:lnTo>
                  <a:lnTo>
                    <a:pt x="5047805" y="2895422"/>
                  </a:lnTo>
                  <a:lnTo>
                    <a:pt x="5093614" y="2908820"/>
                  </a:lnTo>
                  <a:lnTo>
                    <a:pt x="5143830" y="2916859"/>
                  </a:lnTo>
                  <a:lnTo>
                    <a:pt x="5198453" y="2919552"/>
                  </a:lnTo>
                  <a:lnTo>
                    <a:pt x="5249684" y="2917774"/>
                  </a:lnTo>
                  <a:lnTo>
                    <a:pt x="5298808" y="2912453"/>
                  </a:lnTo>
                  <a:lnTo>
                    <a:pt x="5345823" y="2903575"/>
                  </a:lnTo>
                  <a:lnTo>
                    <a:pt x="5390769" y="2891155"/>
                  </a:lnTo>
                  <a:lnTo>
                    <a:pt x="5433606" y="2875165"/>
                  </a:lnTo>
                  <a:lnTo>
                    <a:pt x="5433606" y="2546273"/>
                  </a:lnTo>
                  <a:close/>
                </a:path>
                <a:path w="8300084" h="2926715">
                  <a:moveTo>
                    <a:pt x="5732881" y="10312"/>
                  </a:moveTo>
                  <a:lnTo>
                    <a:pt x="5174843" y="10312"/>
                  </a:lnTo>
                  <a:lnTo>
                    <a:pt x="5174843" y="174142"/>
                  </a:lnTo>
                  <a:lnTo>
                    <a:pt x="5354650" y="174142"/>
                  </a:lnTo>
                  <a:lnTo>
                    <a:pt x="5354650" y="750722"/>
                  </a:lnTo>
                  <a:lnTo>
                    <a:pt x="5553583" y="750722"/>
                  </a:lnTo>
                  <a:lnTo>
                    <a:pt x="5553583" y="174142"/>
                  </a:lnTo>
                  <a:lnTo>
                    <a:pt x="5732881" y="174142"/>
                  </a:lnTo>
                  <a:lnTo>
                    <a:pt x="5732881" y="10312"/>
                  </a:lnTo>
                  <a:close/>
                </a:path>
                <a:path w="8300084" h="2926715">
                  <a:moveTo>
                    <a:pt x="5772048" y="1136992"/>
                  </a:moveTo>
                  <a:lnTo>
                    <a:pt x="5653951" y="1136992"/>
                  </a:lnTo>
                  <a:lnTo>
                    <a:pt x="5653951" y="1430362"/>
                  </a:lnTo>
                  <a:lnTo>
                    <a:pt x="5322494" y="1430362"/>
                  </a:lnTo>
                  <a:lnTo>
                    <a:pt x="5322494" y="1136992"/>
                  </a:lnTo>
                  <a:lnTo>
                    <a:pt x="5204904" y="1136992"/>
                  </a:lnTo>
                  <a:lnTo>
                    <a:pt x="5204904" y="1430362"/>
                  </a:lnTo>
                  <a:lnTo>
                    <a:pt x="5204904" y="1531962"/>
                  </a:lnTo>
                  <a:lnTo>
                    <a:pt x="5204904" y="1855812"/>
                  </a:lnTo>
                  <a:lnTo>
                    <a:pt x="5322494" y="1855812"/>
                  </a:lnTo>
                  <a:lnTo>
                    <a:pt x="5322494" y="1531962"/>
                  </a:lnTo>
                  <a:lnTo>
                    <a:pt x="5653951" y="1531962"/>
                  </a:lnTo>
                  <a:lnTo>
                    <a:pt x="5653951" y="1855812"/>
                  </a:lnTo>
                  <a:lnTo>
                    <a:pt x="5772048" y="1855812"/>
                  </a:lnTo>
                  <a:lnTo>
                    <a:pt x="5772048" y="1531962"/>
                  </a:lnTo>
                  <a:lnTo>
                    <a:pt x="5772048" y="1430362"/>
                  </a:lnTo>
                  <a:lnTo>
                    <a:pt x="5772048" y="1136992"/>
                  </a:lnTo>
                  <a:close/>
                </a:path>
                <a:path w="8300084" h="2926715">
                  <a:moveTo>
                    <a:pt x="6038088" y="10680"/>
                  </a:moveTo>
                  <a:lnTo>
                    <a:pt x="5838126" y="10680"/>
                  </a:lnTo>
                  <a:lnTo>
                    <a:pt x="5838126" y="750722"/>
                  </a:lnTo>
                  <a:lnTo>
                    <a:pt x="6038088" y="750722"/>
                  </a:lnTo>
                  <a:lnTo>
                    <a:pt x="6038088" y="10680"/>
                  </a:lnTo>
                  <a:close/>
                </a:path>
                <a:path w="8300084" h="2926715">
                  <a:moveTo>
                    <a:pt x="6118479" y="2909671"/>
                  </a:moveTo>
                  <a:lnTo>
                    <a:pt x="6018631" y="2655201"/>
                  </a:lnTo>
                  <a:lnTo>
                    <a:pt x="6000851" y="2609888"/>
                  </a:lnTo>
                  <a:lnTo>
                    <a:pt x="5944946" y="2467419"/>
                  </a:lnTo>
                  <a:lnTo>
                    <a:pt x="5944946" y="2609888"/>
                  </a:lnTo>
                  <a:lnTo>
                    <a:pt x="5687085" y="2609888"/>
                  </a:lnTo>
                  <a:lnTo>
                    <a:pt x="5795886" y="2331237"/>
                  </a:lnTo>
                  <a:lnTo>
                    <a:pt x="5803316" y="2310346"/>
                  </a:lnTo>
                  <a:lnTo>
                    <a:pt x="5810440" y="2288349"/>
                  </a:lnTo>
                  <a:lnTo>
                    <a:pt x="5817260" y="2265222"/>
                  </a:lnTo>
                  <a:lnTo>
                    <a:pt x="5825566" y="2290889"/>
                  </a:lnTo>
                  <a:lnTo>
                    <a:pt x="5833275" y="2313559"/>
                  </a:lnTo>
                  <a:lnTo>
                    <a:pt x="5840387" y="2333282"/>
                  </a:lnTo>
                  <a:lnTo>
                    <a:pt x="5846877" y="2350058"/>
                  </a:lnTo>
                  <a:lnTo>
                    <a:pt x="5944946" y="2609888"/>
                  </a:lnTo>
                  <a:lnTo>
                    <a:pt x="5944946" y="2467419"/>
                  </a:lnTo>
                  <a:lnTo>
                    <a:pt x="5865609" y="2265222"/>
                  </a:lnTo>
                  <a:lnTo>
                    <a:pt x="5834494" y="2185936"/>
                  </a:lnTo>
                  <a:lnTo>
                    <a:pt x="5802388" y="2185936"/>
                  </a:lnTo>
                  <a:lnTo>
                    <a:pt x="5512524" y="2909671"/>
                  </a:lnTo>
                  <a:lnTo>
                    <a:pt x="5568277" y="2909671"/>
                  </a:lnTo>
                  <a:lnTo>
                    <a:pt x="5668810" y="2655201"/>
                  </a:lnTo>
                  <a:lnTo>
                    <a:pt x="5961672" y="2655201"/>
                  </a:lnTo>
                  <a:lnTo>
                    <a:pt x="6061811" y="2909671"/>
                  </a:lnTo>
                  <a:lnTo>
                    <a:pt x="6118479" y="2909671"/>
                  </a:lnTo>
                  <a:close/>
                </a:path>
                <a:path w="8300084" h="2926715">
                  <a:moveTo>
                    <a:pt x="6599796" y="1495336"/>
                  </a:moveTo>
                  <a:lnTo>
                    <a:pt x="6597358" y="1438846"/>
                  </a:lnTo>
                  <a:lnTo>
                    <a:pt x="6590055" y="1386751"/>
                  </a:lnTo>
                  <a:lnTo>
                    <a:pt x="6577889" y="1339049"/>
                  </a:lnTo>
                  <a:lnTo>
                    <a:pt x="6560871" y="1295755"/>
                  </a:lnTo>
                  <a:lnTo>
                    <a:pt x="6538989" y="1256868"/>
                  </a:lnTo>
                  <a:lnTo>
                    <a:pt x="6515303" y="1226324"/>
                  </a:lnTo>
                  <a:lnTo>
                    <a:pt x="6481026" y="1192784"/>
                  </a:lnTo>
                  <a:lnTo>
                    <a:pt x="6474879" y="1188567"/>
                  </a:lnTo>
                  <a:lnTo>
                    <a:pt x="6474879" y="1495336"/>
                  </a:lnTo>
                  <a:lnTo>
                    <a:pt x="6471552" y="1558315"/>
                  </a:lnTo>
                  <a:lnTo>
                    <a:pt x="6461557" y="1613001"/>
                  </a:lnTo>
                  <a:lnTo>
                    <a:pt x="6444882" y="1659382"/>
                  </a:lnTo>
                  <a:lnTo>
                    <a:pt x="6421514" y="1697456"/>
                  </a:lnTo>
                  <a:lnTo>
                    <a:pt x="6391605" y="1727149"/>
                  </a:lnTo>
                  <a:lnTo>
                    <a:pt x="6355296" y="1748370"/>
                  </a:lnTo>
                  <a:lnTo>
                    <a:pt x="6312560" y="1761121"/>
                  </a:lnTo>
                  <a:lnTo>
                    <a:pt x="6263373" y="1765388"/>
                  </a:lnTo>
                  <a:lnTo>
                    <a:pt x="6213957" y="1761083"/>
                  </a:lnTo>
                  <a:lnTo>
                    <a:pt x="6171006" y="1748205"/>
                  </a:lnTo>
                  <a:lnTo>
                    <a:pt x="6134519" y="1726755"/>
                  </a:lnTo>
                  <a:lnTo>
                    <a:pt x="6104496" y="1696732"/>
                  </a:lnTo>
                  <a:lnTo>
                    <a:pt x="6081065" y="1658416"/>
                  </a:lnTo>
                  <a:lnTo>
                    <a:pt x="6064313" y="1612061"/>
                  </a:lnTo>
                  <a:lnTo>
                    <a:pt x="6054280" y="1557693"/>
                  </a:lnTo>
                  <a:lnTo>
                    <a:pt x="6050927" y="1495336"/>
                  </a:lnTo>
                  <a:lnTo>
                    <a:pt x="6054293" y="1433169"/>
                  </a:lnTo>
                  <a:lnTo>
                    <a:pt x="6064389" y="1379016"/>
                  </a:lnTo>
                  <a:lnTo>
                    <a:pt x="6081192" y="1332852"/>
                  </a:lnTo>
                  <a:lnTo>
                    <a:pt x="6104712" y="1294663"/>
                  </a:lnTo>
                  <a:lnTo>
                    <a:pt x="6134900" y="1264780"/>
                  </a:lnTo>
                  <a:lnTo>
                    <a:pt x="6171590" y="1243418"/>
                  </a:lnTo>
                  <a:lnTo>
                    <a:pt x="6214757" y="1230591"/>
                  </a:lnTo>
                  <a:lnTo>
                    <a:pt x="6264402" y="1226324"/>
                  </a:lnTo>
                  <a:lnTo>
                    <a:pt x="6313500" y="1230591"/>
                  </a:lnTo>
                  <a:lnTo>
                    <a:pt x="6356147" y="1243418"/>
                  </a:lnTo>
                  <a:lnTo>
                    <a:pt x="6392316" y="1264780"/>
                  </a:lnTo>
                  <a:lnTo>
                    <a:pt x="6422022" y="1294663"/>
                  </a:lnTo>
                  <a:lnTo>
                    <a:pt x="6445136" y="1332852"/>
                  </a:lnTo>
                  <a:lnTo>
                    <a:pt x="6461658" y="1379016"/>
                  </a:lnTo>
                  <a:lnTo>
                    <a:pt x="6471577" y="1433169"/>
                  </a:lnTo>
                  <a:lnTo>
                    <a:pt x="6474879" y="1495336"/>
                  </a:lnTo>
                  <a:lnTo>
                    <a:pt x="6474879" y="1188567"/>
                  </a:lnTo>
                  <a:lnTo>
                    <a:pt x="6406477" y="1149705"/>
                  </a:lnTo>
                  <a:lnTo>
                    <a:pt x="6363157" y="1136243"/>
                  </a:lnTo>
                  <a:lnTo>
                    <a:pt x="6315799" y="1128166"/>
                  </a:lnTo>
                  <a:lnTo>
                    <a:pt x="6264402" y="1125474"/>
                  </a:lnTo>
                  <a:lnTo>
                    <a:pt x="6212192" y="1128128"/>
                  </a:lnTo>
                  <a:lnTo>
                    <a:pt x="6164161" y="1136078"/>
                  </a:lnTo>
                  <a:lnTo>
                    <a:pt x="6120308" y="1149324"/>
                  </a:lnTo>
                  <a:lnTo>
                    <a:pt x="6080620" y="1167866"/>
                  </a:lnTo>
                  <a:lnTo>
                    <a:pt x="6045111" y="1191704"/>
                  </a:lnTo>
                  <a:lnTo>
                    <a:pt x="6013767" y="1220851"/>
                  </a:lnTo>
                  <a:lnTo>
                    <a:pt x="5986945" y="1254950"/>
                  </a:lnTo>
                  <a:lnTo>
                    <a:pt x="5964999" y="1293660"/>
                  </a:lnTo>
                  <a:lnTo>
                    <a:pt x="5947943" y="1336954"/>
                  </a:lnTo>
                  <a:lnTo>
                    <a:pt x="5935764" y="1384820"/>
                  </a:lnTo>
                  <a:lnTo>
                    <a:pt x="5928461" y="1437284"/>
                  </a:lnTo>
                  <a:lnTo>
                    <a:pt x="5926023" y="1494307"/>
                  </a:lnTo>
                  <a:lnTo>
                    <a:pt x="5928449" y="1551393"/>
                  </a:lnTo>
                  <a:lnTo>
                    <a:pt x="5935726" y="1603971"/>
                  </a:lnTo>
                  <a:lnTo>
                    <a:pt x="5947842" y="1652016"/>
                  </a:lnTo>
                  <a:lnTo>
                    <a:pt x="5964796" y="1695526"/>
                  </a:lnTo>
                  <a:lnTo>
                    <a:pt x="5986602" y="1734527"/>
                  </a:lnTo>
                  <a:lnTo>
                    <a:pt x="6013247" y="1768995"/>
                  </a:lnTo>
                  <a:lnTo>
                    <a:pt x="6044450" y="1798523"/>
                  </a:lnTo>
                  <a:lnTo>
                    <a:pt x="6079858" y="1822678"/>
                  </a:lnTo>
                  <a:lnTo>
                    <a:pt x="6119457" y="1841461"/>
                  </a:lnTo>
                  <a:lnTo>
                    <a:pt x="6163246" y="1854885"/>
                  </a:lnTo>
                  <a:lnTo>
                    <a:pt x="6211214" y="1862937"/>
                  </a:lnTo>
                  <a:lnTo>
                    <a:pt x="6263373" y="1865617"/>
                  </a:lnTo>
                  <a:lnTo>
                    <a:pt x="6314973" y="1862924"/>
                  </a:lnTo>
                  <a:lnTo>
                    <a:pt x="6362509" y="1854809"/>
                  </a:lnTo>
                  <a:lnTo>
                    <a:pt x="6405981" y="1841296"/>
                  </a:lnTo>
                  <a:lnTo>
                    <a:pt x="6445390" y="1822373"/>
                  </a:lnTo>
                  <a:lnTo>
                    <a:pt x="6480746" y="1798027"/>
                  </a:lnTo>
                  <a:lnTo>
                    <a:pt x="6512039" y="1768271"/>
                  </a:lnTo>
                  <a:lnTo>
                    <a:pt x="6538874" y="1733638"/>
                  </a:lnTo>
                  <a:lnTo>
                    <a:pt x="6560807" y="1694662"/>
                  </a:lnTo>
                  <a:lnTo>
                    <a:pt x="6577863" y="1651355"/>
                  </a:lnTo>
                  <a:lnTo>
                    <a:pt x="6590055" y="1603692"/>
                  </a:lnTo>
                  <a:lnTo>
                    <a:pt x="6597358" y="1551686"/>
                  </a:lnTo>
                  <a:lnTo>
                    <a:pt x="6599796" y="1495336"/>
                  </a:lnTo>
                  <a:close/>
                </a:path>
                <a:path w="8300084" h="2926715">
                  <a:moveTo>
                    <a:pt x="6642621" y="2188299"/>
                  </a:moveTo>
                  <a:lnTo>
                    <a:pt x="6123381" y="2188299"/>
                  </a:lnTo>
                  <a:lnTo>
                    <a:pt x="6123381" y="2236559"/>
                  </a:lnTo>
                  <a:lnTo>
                    <a:pt x="6357607" y="2236559"/>
                  </a:lnTo>
                  <a:lnTo>
                    <a:pt x="6357607" y="2909659"/>
                  </a:lnTo>
                  <a:lnTo>
                    <a:pt x="6408394" y="2909659"/>
                  </a:lnTo>
                  <a:lnTo>
                    <a:pt x="6408394" y="2236559"/>
                  </a:lnTo>
                  <a:lnTo>
                    <a:pt x="6642621" y="2236559"/>
                  </a:lnTo>
                  <a:lnTo>
                    <a:pt x="6642621" y="2188299"/>
                  </a:lnTo>
                  <a:close/>
                </a:path>
                <a:path w="8300084" h="2926715">
                  <a:moveTo>
                    <a:pt x="6755384" y="52133"/>
                  </a:moveTo>
                  <a:lnTo>
                    <a:pt x="6711429" y="33388"/>
                  </a:lnTo>
                  <a:lnTo>
                    <a:pt x="6666624" y="18796"/>
                  </a:lnTo>
                  <a:lnTo>
                    <a:pt x="6620992" y="8369"/>
                  </a:lnTo>
                  <a:lnTo>
                    <a:pt x="6574536" y="2095"/>
                  </a:lnTo>
                  <a:lnTo>
                    <a:pt x="6527254" y="0"/>
                  </a:lnTo>
                  <a:lnTo>
                    <a:pt x="6474371" y="2933"/>
                  </a:lnTo>
                  <a:lnTo>
                    <a:pt x="6425057" y="11709"/>
                  </a:lnTo>
                  <a:lnTo>
                    <a:pt x="6379299" y="26352"/>
                  </a:lnTo>
                  <a:lnTo>
                    <a:pt x="6337109" y="46863"/>
                  </a:lnTo>
                  <a:lnTo>
                    <a:pt x="6298997" y="72783"/>
                  </a:lnTo>
                  <a:lnTo>
                    <a:pt x="6265634" y="103746"/>
                  </a:lnTo>
                  <a:lnTo>
                    <a:pt x="6237021" y="139750"/>
                  </a:lnTo>
                  <a:lnTo>
                    <a:pt x="6213132" y="180759"/>
                  </a:lnTo>
                  <a:lnTo>
                    <a:pt x="6194298" y="226009"/>
                  </a:lnTo>
                  <a:lnTo>
                    <a:pt x="6180836" y="274751"/>
                  </a:lnTo>
                  <a:lnTo>
                    <a:pt x="6172771" y="326974"/>
                  </a:lnTo>
                  <a:lnTo>
                    <a:pt x="6170079" y="382676"/>
                  </a:lnTo>
                  <a:lnTo>
                    <a:pt x="6172543" y="441528"/>
                  </a:lnTo>
                  <a:lnTo>
                    <a:pt x="6179959" y="495579"/>
                  </a:lnTo>
                  <a:lnTo>
                    <a:pt x="6192304" y="544804"/>
                  </a:lnTo>
                  <a:lnTo>
                    <a:pt x="6209589" y="589229"/>
                  </a:lnTo>
                  <a:lnTo>
                    <a:pt x="6231801" y="628853"/>
                  </a:lnTo>
                  <a:lnTo>
                    <a:pt x="6258966" y="663663"/>
                  </a:lnTo>
                  <a:lnTo>
                    <a:pt x="6290754" y="693369"/>
                  </a:lnTo>
                  <a:lnTo>
                    <a:pt x="6326886" y="717651"/>
                  </a:lnTo>
                  <a:lnTo>
                    <a:pt x="6367335" y="736536"/>
                  </a:lnTo>
                  <a:lnTo>
                    <a:pt x="6412128" y="750023"/>
                  </a:lnTo>
                  <a:lnTo>
                    <a:pt x="6461226" y="758101"/>
                  </a:lnTo>
                  <a:lnTo>
                    <a:pt x="6514668" y="760793"/>
                  </a:lnTo>
                  <a:lnTo>
                    <a:pt x="6571297" y="758240"/>
                  </a:lnTo>
                  <a:lnTo>
                    <a:pt x="6624904" y="750570"/>
                  </a:lnTo>
                  <a:lnTo>
                    <a:pt x="6675501" y="737755"/>
                  </a:lnTo>
                  <a:lnTo>
                    <a:pt x="6723075" y="719810"/>
                  </a:lnTo>
                  <a:lnTo>
                    <a:pt x="6723075" y="550735"/>
                  </a:lnTo>
                  <a:lnTo>
                    <a:pt x="6699961" y="560044"/>
                  </a:lnTo>
                  <a:lnTo>
                    <a:pt x="6676911" y="568629"/>
                  </a:lnTo>
                  <a:lnTo>
                    <a:pt x="6631000" y="583653"/>
                  </a:lnTo>
                  <a:lnTo>
                    <a:pt x="6584391" y="593877"/>
                  </a:lnTo>
                  <a:lnTo>
                    <a:pt x="6536233" y="597281"/>
                  </a:lnTo>
                  <a:lnTo>
                    <a:pt x="6493345" y="592924"/>
                  </a:lnTo>
                  <a:lnTo>
                    <a:pt x="6457061" y="579856"/>
                  </a:lnTo>
                  <a:lnTo>
                    <a:pt x="6404267" y="527570"/>
                  </a:lnTo>
                  <a:lnTo>
                    <a:pt x="6387770" y="488340"/>
                  </a:lnTo>
                  <a:lnTo>
                    <a:pt x="6377876" y="440385"/>
                  </a:lnTo>
                  <a:lnTo>
                    <a:pt x="6374574" y="383705"/>
                  </a:lnTo>
                  <a:lnTo>
                    <a:pt x="6377064" y="335076"/>
                  </a:lnTo>
                  <a:lnTo>
                    <a:pt x="6384531" y="292011"/>
                  </a:lnTo>
                  <a:lnTo>
                    <a:pt x="6396964" y="254482"/>
                  </a:lnTo>
                  <a:lnTo>
                    <a:pt x="6436169" y="196913"/>
                  </a:lnTo>
                  <a:lnTo>
                    <a:pt x="6491605" y="167690"/>
                  </a:lnTo>
                  <a:lnTo>
                    <a:pt x="6525184" y="164033"/>
                  </a:lnTo>
                  <a:lnTo>
                    <a:pt x="6548196" y="164858"/>
                  </a:lnTo>
                  <a:lnTo>
                    <a:pt x="6592024" y="171437"/>
                  </a:lnTo>
                  <a:lnTo>
                    <a:pt x="6633210" y="184111"/>
                  </a:lnTo>
                  <a:lnTo>
                    <a:pt x="6674040" y="200329"/>
                  </a:lnTo>
                  <a:lnTo>
                    <a:pt x="6694475" y="209562"/>
                  </a:lnTo>
                  <a:lnTo>
                    <a:pt x="6755384" y="52133"/>
                  </a:lnTo>
                  <a:close/>
                </a:path>
                <a:path w="8300084" h="2926715">
                  <a:moveTo>
                    <a:pt x="6799897" y="2188807"/>
                  </a:moveTo>
                  <a:lnTo>
                    <a:pt x="6749631" y="2188807"/>
                  </a:lnTo>
                  <a:lnTo>
                    <a:pt x="6749631" y="2909659"/>
                  </a:lnTo>
                  <a:lnTo>
                    <a:pt x="6799897" y="2909659"/>
                  </a:lnTo>
                  <a:lnTo>
                    <a:pt x="6799897" y="2188807"/>
                  </a:lnTo>
                  <a:close/>
                </a:path>
                <a:path w="8300084" h="2926715">
                  <a:moveTo>
                    <a:pt x="7303859" y="10312"/>
                  </a:moveTo>
                  <a:lnTo>
                    <a:pt x="6866687" y="10312"/>
                  </a:lnTo>
                  <a:lnTo>
                    <a:pt x="6866687" y="171602"/>
                  </a:lnTo>
                  <a:lnTo>
                    <a:pt x="6866687" y="287172"/>
                  </a:lnTo>
                  <a:lnTo>
                    <a:pt x="6866687" y="448462"/>
                  </a:lnTo>
                  <a:lnTo>
                    <a:pt x="6866687" y="588162"/>
                  </a:lnTo>
                  <a:lnTo>
                    <a:pt x="6866687" y="750722"/>
                  </a:lnTo>
                  <a:lnTo>
                    <a:pt x="7303859" y="750722"/>
                  </a:lnTo>
                  <a:lnTo>
                    <a:pt x="7303859" y="588162"/>
                  </a:lnTo>
                  <a:lnTo>
                    <a:pt x="7065607" y="588162"/>
                  </a:lnTo>
                  <a:lnTo>
                    <a:pt x="7065607" y="448462"/>
                  </a:lnTo>
                  <a:lnTo>
                    <a:pt x="7286206" y="448462"/>
                  </a:lnTo>
                  <a:lnTo>
                    <a:pt x="7286206" y="287172"/>
                  </a:lnTo>
                  <a:lnTo>
                    <a:pt x="7065607" y="287172"/>
                  </a:lnTo>
                  <a:lnTo>
                    <a:pt x="7065607" y="171602"/>
                  </a:lnTo>
                  <a:lnTo>
                    <a:pt x="7303859" y="171602"/>
                  </a:lnTo>
                  <a:lnTo>
                    <a:pt x="7303859" y="10312"/>
                  </a:lnTo>
                  <a:close/>
                </a:path>
                <a:path w="8300084" h="2926715">
                  <a:moveTo>
                    <a:pt x="7317892" y="1136777"/>
                  </a:moveTo>
                  <a:lnTo>
                    <a:pt x="7200303" y="1136777"/>
                  </a:lnTo>
                  <a:lnTo>
                    <a:pt x="7200303" y="1590776"/>
                  </a:lnTo>
                  <a:lnTo>
                    <a:pt x="7195693" y="1644103"/>
                  </a:lnTo>
                  <a:lnTo>
                    <a:pt x="7181837" y="1687741"/>
                  </a:lnTo>
                  <a:lnTo>
                    <a:pt x="7158749" y="1721675"/>
                  </a:lnTo>
                  <a:lnTo>
                    <a:pt x="7126427" y="1745932"/>
                  </a:lnTo>
                  <a:lnTo>
                    <a:pt x="7084885" y="1760486"/>
                  </a:lnTo>
                  <a:lnTo>
                    <a:pt x="7034111" y="1765325"/>
                  </a:lnTo>
                  <a:lnTo>
                    <a:pt x="6994068" y="1762683"/>
                  </a:lnTo>
                  <a:lnTo>
                    <a:pt x="6930631" y="1741512"/>
                  </a:lnTo>
                  <a:lnTo>
                    <a:pt x="6889153" y="1698955"/>
                  </a:lnTo>
                  <a:lnTo>
                    <a:pt x="6868439" y="1633296"/>
                  </a:lnTo>
                  <a:lnTo>
                    <a:pt x="6865848" y="1591703"/>
                  </a:lnTo>
                  <a:lnTo>
                    <a:pt x="6865848" y="1136777"/>
                  </a:lnTo>
                  <a:lnTo>
                    <a:pt x="6747865" y="1136777"/>
                  </a:lnTo>
                  <a:lnTo>
                    <a:pt x="6747865" y="1600060"/>
                  </a:lnTo>
                  <a:lnTo>
                    <a:pt x="6752501" y="1658708"/>
                  </a:lnTo>
                  <a:lnTo>
                    <a:pt x="6766433" y="1710740"/>
                  </a:lnTo>
                  <a:lnTo>
                    <a:pt x="6789623" y="1756130"/>
                  </a:lnTo>
                  <a:lnTo>
                    <a:pt x="6822084" y="1794865"/>
                  </a:lnTo>
                  <a:lnTo>
                    <a:pt x="6854190" y="1820341"/>
                  </a:lnTo>
                  <a:lnTo>
                    <a:pt x="6891045" y="1840166"/>
                  </a:lnTo>
                  <a:lnTo>
                    <a:pt x="6932676" y="1854327"/>
                  </a:lnTo>
                  <a:lnTo>
                    <a:pt x="6979056" y="1862823"/>
                  </a:lnTo>
                  <a:lnTo>
                    <a:pt x="7030186" y="1865668"/>
                  </a:lnTo>
                  <a:lnTo>
                    <a:pt x="7073582" y="1863648"/>
                  </a:lnTo>
                  <a:lnTo>
                    <a:pt x="7113816" y="1857616"/>
                  </a:lnTo>
                  <a:lnTo>
                    <a:pt x="7150887" y="1847557"/>
                  </a:lnTo>
                  <a:lnTo>
                    <a:pt x="7215276" y="1815642"/>
                  </a:lnTo>
                  <a:lnTo>
                    <a:pt x="7264705" y="1769643"/>
                  </a:lnTo>
                  <a:lnTo>
                    <a:pt x="7298639" y="1710359"/>
                  </a:lnTo>
                  <a:lnTo>
                    <a:pt x="7315746" y="1640636"/>
                  </a:lnTo>
                  <a:lnTo>
                    <a:pt x="7317892" y="1602028"/>
                  </a:lnTo>
                  <a:lnTo>
                    <a:pt x="7317892" y="1136777"/>
                  </a:lnTo>
                  <a:close/>
                </a:path>
                <a:path w="8300084" h="2926715">
                  <a:moveTo>
                    <a:pt x="7609916" y="2548242"/>
                  </a:moveTo>
                  <a:lnTo>
                    <a:pt x="7607554" y="2492908"/>
                  </a:lnTo>
                  <a:lnTo>
                    <a:pt x="7600455" y="2441613"/>
                  </a:lnTo>
                  <a:lnTo>
                    <a:pt x="7588618" y="2394356"/>
                  </a:lnTo>
                  <a:lnTo>
                    <a:pt x="7572045" y="2351138"/>
                  </a:lnTo>
                  <a:lnTo>
                    <a:pt x="7555204" y="2320213"/>
                  </a:lnTo>
                  <a:lnTo>
                    <a:pt x="7555204" y="2548242"/>
                  </a:lnTo>
                  <a:lnTo>
                    <a:pt x="7552461" y="2607856"/>
                  </a:lnTo>
                  <a:lnTo>
                    <a:pt x="7544206" y="2661678"/>
                  </a:lnTo>
                  <a:lnTo>
                    <a:pt x="7530452" y="2709710"/>
                  </a:lnTo>
                  <a:lnTo>
                    <a:pt x="7511212" y="2751937"/>
                  </a:lnTo>
                  <a:lnTo>
                    <a:pt x="7486459" y="2788348"/>
                  </a:lnTo>
                  <a:lnTo>
                    <a:pt x="7456500" y="2818549"/>
                  </a:lnTo>
                  <a:lnTo>
                    <a:pt x="7421613" y="2842031"/>
                  </a:lnTo>
                  <a:lnTo>
                    <a:pt x="7381824" y="2858782"/>
                  </a:lnTo>
                  <a:lnTo>
                    <a:pt x="7337120" y="2868828"/>
                  </a:lnTo>
                  <a:lnTo>
                    <a:pt x="7287539" y="2872168"/>
                  </a:lnTo>
                  <a:lnTo>
                    <a:pt x="7238238" y="2868790"/>
                  </a:lnTo>
                  <a:lnTo>
                    <a:pt x="7193762" y="2858643"/>
                  </a:lnTo>
                  <a:lnTo>
                    <a:pt x="7154126" y="2841739"/>
                  </a:lnTo>
                  <a:lnTo>
                    <a:pt x="7119315" y="2818066"/>
                  </a:lnTo>
                  <a:lnTo>
                    <a:pt x="7089343" y="2787624"/>
                  </a:lnTo>
                  <a:lnTo>
                    <a:pt x="7064476" y="2750997"/>
                  </a:lnTo>
                  <a:lnTo>
                    <a:pt x="7045147" y="2708745"/>
                  </a:lnTo>
                  <a:lnTo>
                    <a:pt x="7031329" y="2660866"/>
                  </a:lnTo>
                  <a:lnTo>
                    <a:pt x="7023049" y="2607373"/>
                  </a:lnTo>
                  <a:lnTo>
                    <a:pt x="7020280" y="2548242"/>
                  </a:lnTo>
                  <a:lnTo>
                    <a:pt x="7023074" y="2489314"/>
                  </a:lnTo>
                  <a:lnTo>
                    <a:pt x="7031431" y="2436037"/>
                  </a:lnTo>
                  <a:lnTo>
                    <a:pt x="7045388" y="2388412"/>
                  </a:lnTo>
                  <a:lnTo>
                    <a:pt x="7064934" y="2346426"/>
                  </a:lnTo>
                  <a:lnTo>
                    <a:pt x="7090067" y="2310092"/>
                  </a:lnTo>
                  <a:lnTo>
                    <a:pt x="7120306" y="2279929"/>
                  </a:lnTo>
                  <a:lnTo>
                    <a:pt x="7155269" y="2256459"/>
                  </a:lnTo>
                  <a:lnTo>
                    <a:pt x="7194956" y="2239695"/>
                  </a:lnTo>
                  <a:lnTo>
                    <a:pt x="7239355" y="2229624"/>
                  </a:lnTo>
                  <a:lnTo>
                    <a:pt x="7288466" y="2226272"/>
                  </a:lnTo>
                  <a:lnTo>
                    <a:pt x="7337717" y="2229599"/>
                  </a:lnTo>
                  <a:lnTo>
                    <a:pt x="7382154" y="2239568"/>
                  </a:lnTo>
                  <a:lnTo>
                    <a:pt x="7421753" y="2256180"/>
                  </a:lnTo>
                  <a:lnTo>
                    <a:pt x="7456525" y="2279446"/>
                  </a:lnTo>
                  <a:lnTo>
                    <a:pt x="7486459" y="2309380"/>
                  </a:lnTo>
                  <a:lnTo>
                    <a:pt x="7511212" y="2345537"/>
                  </a:lnTo>
                  <a:lnTo>
                    <a:pt x="7530452" y="2387498"/>
                  </a:lnTo>
                  <a:lnTo>
                    <a:pt x="7544206" y="2435263"/>
                  </a:lnTo>
                  <a:lnTo>
                    <a:pt x="7552461" y="2488844"/>
                  </a:lnTo>
                  <a:lnTo>
                    <a:pt x="7555204" y="2548242"/>
                  </a:lnTo>
                  <a:lnTo>
                    <a:pt x="7555204" y="2320213"/>
                  </a:lnTo>
                  <a:lnTo>
                    <a:pt x="7524661" y="2276856"/>
                  </a:lnTo>
                  <a:lnTo>
                    <a:pt x="7487907" y="2241067"/>
                  </a:lnTo>
                  <a:lnTo>
                    <a:pt x="7445934" y="2213241"/>
                  </a:lnTo>
                  <a:lnTo>
                    <a:pt x="7398702" y="2193353"/>
                  </a:lnTo>
                  <a:lnTo>
                    <a:pt x="7346213" y="2181428"/>
                  </a:lnTo>
                  <a:lnTo>
                    <a:pt x="7288466" y="2177453"/>
                  </a:lnTo>
                  <a:lnTo>
                    <a:pt x="7230986" y="2181428"/>
                  </a:lnTo>
                  <a:lnTo>
                    <a:pt x="7178700" y="2193290"/>
                  </a:lnTo>
                  <a:lnTo>
                    <a:pt x="7131431" y="2213076"/>
                  </a:lnTo>
                  <a:lnTo>
                    <a:pt x="7089229" y="2240775"/>
                  </a:lnTo>
                  <a:lnTo>
                    <a:pt x="7052069" y="2276348"/>
                  </a:lnTo>
                  <a:lnTo>
                    <a:pt x="7025627" y="2311311"/>
                  </a:lnTo>
                  <a:lnTo>
                    <a:pt x="7003999" y="2350351"/>
                  </a:lnTo>
                  <a:lnTo>
                    <a:pt x="6987184" y="2393467"/>
                  </a:lnTo>
                  <a:lnTo>
                    <a:pt x="6975170" y="2440648"/>
                  </a:lnTo>
                  <a:lnTo>
                    <a:pt x="6967969" y="2491892"/>
                  </a:lnTo>
                  <a:lnTo>
                    <a:pt x="6965569" y="2547201"/>
                  </a:lnTo>
                  <a:lnTo>
                    <a:pt x="6967956" y="2602725"/>
                  </a:lnTo>
                  <a:lnTo>
                    <a:pt x="6975107" y="2654198"/>
                  </a:lnTo>
                  <a:lnTo>
                    <a:pt x="6987019" y="2701620"/>
                  </a:lnTo>
                  <a:lnTo>
                    <a:pt x="7003694" y="2744990"/>
                  </a:lnTo>
                  <a:lnTo>
                    <a:pt x="7025157" y="2784348"/>
                  </a:lnTo>
                  <a:lnTo>
                    <a:pt x="7051345" y="2819628"/>
                  </a:lnTo>
                  <a:lnTo>
                    <a:pt x="7088238" y="2855582"/>
                  </a:lnTo>
                  <a:lnTo>
                    <a:pt x="7130301" y="2883535"/>
                  </a:lnTo>
                  <a:lnTo>
                    <a:pt x="7177532" y="2903486"/>
                  </a:lnTo>
                  <a:lnTo>
                    <a:pt x="7229932" y="2915462"/>
                  </a:lnTo>
                  <a:lnTo>
                    <a:pt x="7287539" y="2919450"/>
                  </a:lnTo>
                  <a:lnTo>
                    <a:pt x="7345261" y="2915462"/>
                  </a:lnTo>
                  <a:lnTo>
                    <a:pt x="7397788" y="2903486"/>
                  </a:lnTo>
                  <a:lnTo>
                    <a:pt x="7445108" y="2883535"/>
                  </a:lnTo>
                  <a:lnTo>
                    <a:pt x="7462228" y="2872168"/>
                  </a:lnTo>
                  <a:lnTo>
                    <a:pt x="7487221" y="2855582"/>
                  </a:lnTo>
                  <a:lnTo>
                    <a:pt x="7524128" y="2819628"/>
                  </a:lnTo>
                  <a:lnTo>
                    <a:pt x="7550353" y="2784322"/>
                  </a:lnTo>
                  <a:lnTo>
                    <a:pt x="7571791" y="2745092"/>
                  </a:lnTo>
                  <a:lnTo>
                    <a:pt x="7588478" y="2701861"/>
                  </a:lnTo>
                  <a:lnTo>
                    <a:pt x="7600391" y="2654643"/>
                  </a:lnTo>
                  <a:lnTo>
                    <a:pt x="7607541" y="2603436"/>
                  </a:lnTo>
                  <a:lnTo>
                    <a:pt x="7609916" y="2548242"/>
                  </a:lnTo>
                  <a:close/>
                </a:path>
                <a:path w="8300084" h="2926715">
                  <a:moveTo>
                    <a:pt x="7961719" y="1136992"/>
                  </a:moveTo>
                  <a:lnTo>
                    <a:pt x="7421118" y="1136992"/>
                  </a:lnTo>
                  <a:lnTo>
                    <a:pt x="7421118" y="1237322"/>
                  </a:lnTo>
                  <a:lnTo>
                    <a:pt x="7632624" y="1237322"/>
                  </a:lnTo>
                  <a:lnTo>
                    <a:pt x="7632624" y="1855812"/>
                  </a:lnTo>
                  <a:lnTo>
                    <a:pt x="7750200" y="1855812"/>
                  </a:lnTo>
                  <a:lnTo>
                    <a:pt x="7750200" y="1237322"/>
                  </a:lnTo>
                  <a:lnTo>
                    <a:pt x="7961719" y="1237322"/>
                  </a:lnTo>
                  <a:lnTo>
                    <a:pt x="7961719" y="1136992"/>
                  </a:lnTo>
                  <a:close/>
                </a:path>
                <a:path w="8300084" h="2926715">
                  <a:moveTo>
                    <a:pt x="8299717" y="2188819"/>
                  </a:moveTo>
                  <a:lnTo>
                    <a:pt x="8250898" y="2188819"/>
                  </a:lnTo>
                  <a:lnTo>
                    <a:pt x="8250898" y="2659227"/>
                  </a:lnTo>
                  <a:lnTo>
                    <a:pt x="8251164" y="2699677"/>
                  </a:lnTo>
                  <a:lnTo>
                    <a:pt x="8251990" y="2741269"/>
                  </a:lnTo>
                  <a:lnTo>
                    <a:pt x="8253374" y="2783979"/>
                  </a:lnTo>
                  <a:lnTo>
                    <a:pt x="8255330" y="2827794"/>
                  </a:lnTo>
                  <a:lnTo>
                    <a:pt x="8252346" y="2827794"/>
                  </a:lnTo>
                  <a:lnTo>
                    <a:pt x="7825905" y="2188819"/>
                  </a:lnTo>
                  <a:lnTo>
                    <a:pt x="7775626" y="2188819"/>
                  </a:lnTo>
                  <a:lnTo>
                    <a:pt x="7775626" y="2909659"/>
                  </a:lnTo>
                  <a:lnTo>
                    <a:pt x="7823949" y="2909659"/>
                  </a:lnTo>
                  <a:lnTo>
                    <a:pt x="7823949" y="2442248"/>
                  </a:lnTo>
                  <a:lnTo>
                    <a:pt x="7822476" y="2369997"/>
                  </a:lnTo>
                  <a:lnTo>
                    <a:pt x="7820634" y="2323338"/>
                  </a:lnTo>
                  <a:lnTo>
                    <a:pt x="7818056" y="2269642"/>
                  </a:lnTo>
                  <a:lnTo>
                    <a:pt x="7821981" y="2269642"/>
                  </a:lnTo>
                  <a:lnTo>
                    <a:pt x="8248942" y="2909659"/>
                  </a:lnTo>
                  <a:lnTo>
                    <a:pt x="8299717" y="2909659"/>
                  </a:lnTo>
                  <a:lnTo>
                    <a:pt x="8299717" y="2188819"/>
                  </a:lnTo>
                  <a:close/>
                </a:path>
              </a:pathLst>
            </a:custGeom>
            <a:solidFill>
              <a:srgbClr val="FFFFFF"/>
            </a:solidFill>
          </p:spPr>
          <p:txBody>
            <a:bodyPr wrap="square" lIns="0" tIns="0" rIns="0" bIns="0" rtlCol="0"/>
            <a:lstStyle/>
            <a:p>
              <a:endParaRPr lang="en-US" sz="960" dirty="0"/>
            </a:p>
          </p:txBody>
        </p:sp>
        <p:sp>
          <p:nvSpPr>
            <p:cNvPr id="5" name="object 5"/>
            <p:cNvSpPr/>
            <p:nvPr/>
          </p:nvSpPr>
          <p:spPr>
            <a:xfrm>
              <a:off x="13553144" y="6463025"/>
              <a:ext cx="4981575" cy="4914265"/>
            </a:xfrm>
            <a:custGeom>
              <a:avLst/>
              <a:gdLst/>
              <a:ahLst/>
              <a:cxnLst/>
              <a:rect l="l" t="t" r="r" b="b"/>
              <a:pathLst>
                <a:path w="4981575" h="4914265">
                  <a:moveTo>
                    <a:pt x="4981387" y="2423413"/>
                  </a:moveTo>
                  <a:lnTo>
                    <a:pt x="4981387" y="0"/>
                  </a:lnTo>
                  <a:lnTo>
                    <a:pt x="4355448" y="0"/>
                  </a:lnTo>
                  <a:lnTo>
                    <a:pt x="4355448" y="2423413"/>
                  </a:lnTo>
                  <a:lnTo>
                    <a:pt x="4355448" y="2424994"/>
                  </a:lnTo>
                  <a:lnTo>
                    <a:pt x="4355186" y="2426512"/>
                  </a:lnTo>
                  <a:lnTo>
                    <a:pt x="4355176" y="2428093"/>
                  </a:lnTo>
                  <a:lnTo>
                    <a:pt x="4355176" y="2428271"/>
                  </a:lnTo>
                  <a:lnTo>
                    <a:pt x="4355207" y="2428449"/>
                  </a:lnTo>
                  <a:lnTo>
                    <a:pt x="4355207" y="2428638"/>
                  </a:lnTo>
                  <a:lnTo>
                    <a:pt x="4354412" y="2480420"/>
                  </a:lnTo>
                  <a:lnTo>
                    <a:pt x="4352116" y="2531820"/>
                  </a:lnTo>
                  <a:lnTo>
                    <a:pt x="4348449" y="2582855"/>
                  </a:lnTo>
                  <a:lnTo>
                    <a:pt x="4343543" y="2633542"/>
                  </a:lnTo>
                  <a:lnTo>
                    <a:pt x="4342171" y="2641647"/>
                  </a:lnTo>
                  <a:lnTo>
                    <a:pt x="4341679" y="2645772"/>
                  </a:lnTo>
                  <a:lnTo>
                    <a:pt x="4335514" y="2693859"/>
                  </a:lnTo>
                  <a:lnTo>
                    <a:pt x="4328148" y="2741558"/>
                  </a:lnTo>
                  <a:lnTo>
                    <a:pt x="4319598" y="2788854"/>
                  </a:lnTo>
                  <a:lnTo>
                    <a:pt x="4309877" y="2835731"/>
                  </a:lnTo>
                  <a:lnTo>
                    <a:pt x="4299003" y="2882172"/>
                  </a:lnTo>
                  <a:lnTo>
                    <a:pt x="4286991" y="2928163"/>
                  </a:lnTo>
                  <a:lnTo>
                    <a:pt x="4273857" y="2973686"/>
                  </a:lnTo>
                  <a:lnTo>
                    <a:pt x="4259616" y="3018726"/>
                  </a:lnTo>
                  <a:lnTo>
                    <a:pt x="4244285" y="3063268"/>
                  </a:lnTo>
                  <a:lnTo>
                    <a:pt x="4227879" y="3107295"/>
                  </a:lnTo>
                  <a:lnTo>
                    <a:pt x="4210413" y="3150792"/>
                  </a:lnTo>
                  <a:lnTo>
                    <a:pt x="4191904" y="3193742"/>
                  </a:lnTo>
                  <a:lnTo>
                    <a:pt x="4172368" y="3236130"/>
                  </a:lnTo>
                  <a:lnTo>
                    <a:pt x="4151819" y="3277940"/>
                  </a:lnTo>
                  <a:lnTo>
                    <a:pt x="4130274" y="3319156"/>
                  </a:lnTo>
                  <a:lnTo>
                    <a:pt x="4107749" y="3359761"/>
                  </a:lnTo>
                  <a:lnTo>
                    <a:pt x="4084260" y="3399742"/>
                  </a:lnTo>
                  <a:lnTo>
                    <a:pt x="4059821" y="3439080"/>
                  </a:lnTo>
                  <a:lnTo>
                    <a:pt x="4034449" y="3477761"/>
                  </a:lnTo>
                  <a:lnTo>
                    <a:pt x="4008160" y="3515768"/>
                  </a:lnTo>
                  <a:lnTo>
                    <a:pt x="3980969" y="3553086"/>
                  </a:lnTo>
                  <a:lnTo>
                    <a:pt x="3952893" y="3589698"/>
                  </a:lnTo>
                  <a:lnTo>
                    <a:pt x="3923946" y="3625590"/>
                  </a:lnTo>
                  <a:lnTo>
                    <a:pt x="3894144" y="3660744"/>
                  </a:lnTo>
                  <a:lnTo>
                    <a:pt x="3863505" y="3695146"/>
                  </a:lnTo>
                  <a:lnTo>
                    <a:pt x="3832042" y="3728779"/>
                  </a:lnTo>
                  <a:lnTo>
                    <a:pt x="3799772" y="3761627"/>
                  </a:lnTo>
                  <a:lnTo>
                    <a:pt x="3766711" y="3793674"/>
                  </a:lnTo>
                  <a:lnTo>
                    <a:pt x="3732874" y="3824905"/>
                  </a:lnTo>
                  <a:lnTo>
                    <a:pt x="3698277" y="3855304"/>
                  </a:lnTo>
                  <a:lnTo>
                    <a:pt x="3662937" y="3884855"/>
                  </a:lnTo>
                  <a:lnTo>
                    <a:pt x="3626868" y="3913541"/>
                  </a:lnTo>
                  <a:lnTo>
                    <a:pt x="3590086" y="3941347"/>
                  </a:lnTo>
                  <a:lnTo>
                    <a:pt x="3552607" y="3968258"/>
                  </a:lnTo>
                  <a:lnTo>
                    <a:pt x="3514448" y="3994257"/>
                  </a:lnTo>
                  <a:lnTo>
                    <a:pt x="3475623" y="4019328"/>
                  </a:lnTo>
                  <a:lnTo>
                    <a:pt x="3436148" y="4043456"/>
                  </a:lnTo>
                  <a:lnTo>
                    <a:pt x="3396040" y="4066624"/>
                  </a:lnTo>
                  <a:lnTo>
                    <a:pt x="3355314" y="4088817"/>
                  </a:lnTo>
                  <a:lnTo>
                    <a:pt x="3313985" y="4110019"/>
                  </a:lnTo>
                  <a:lnTo>
                    <a:pt x="3272070" y="4130213"/>
                  </a:lnTo>
                  <a:lnTo>
                    <a:pt x="3229584" y="4149385"/>
                  </a:lnTo>
                  <a:lnTo>
                    <a:pt x="3186543" y="4167518"/>
                  </a:lnTo>
                  <a:lnTo>
                    <a:pt x="3142962" y="4184596"/>
                  </a:lnTo>
                  <a:lnTo>
                    <a:pt x="3098858" y="4200603"/>
                  </a:lnTo>
                  <a:lnTo>
                    <a:pt x="3054247" y="4215524"/>
                  </a:lnTo>
                  <a:lnTo>
                    <a:pt x="3009143" y="4229343"/>
                  </a:lnTo>
                  <a:lnTo>
                    <a:pt x="2963563" y="4242043"/>
                  </a:lnTo>
                  <a:lnTo>
                    <a:pt x="2917522" y="4253609"/>
                  </a:lnTo>
                  <a:lnTo>
                    <a:pt x="2871037" y="4264025"/>
                  </a:lnTo>
                  <a:lnTo>
                    <a:pt x="2824123" y="4273276"/>
                  </a:lnTo>
                  <a:lnTo>
                    <a:pt x="2776795" y="4281344"/>
                  </a:lnTo>
                  <a:lnTo>
                    <a:pt x="2729070" y="4288215"/>
                  </a:lnTo>
                  <a:lnTo>
                    <a:pt x="2680963" y="4293872"/>
                  </a:lnTo>
                  <a:lnTo>
                    <a:pt x="2632491" y="4298299"/>
                  </a:lnTo>
                  <a:lnTo>
                    <a:pt x="2583668" y="4301482"/>
                  </a:lnTo>
                  <a:lnTo>
                    <a:pt x="2534510" y="4303403"/>
                  </a:lnTo>
                  <a:lnTo>
                    <a:pt x="2485034" y="4304046"/>
                  </a:lnTo>
                  <a:lnTo>
                    <a:pt x="2436764" y="4303434"/>
                  </a:lnTo>
                  <a:lnTo>
                    <a:pt x="2388796" y="4301606"/>
                  </a:lnTo>
                  <a:lnTo>
                    <a:pt x="2341143" y="4298578"/>
                  </a:lnTo>
                  <a:lnTo>
                    <a:pt x="2293821" y="4294364"/>
                  </a:lnTo>
                  <a:lnTo>
                    <a:pt x="2246844" y="4288979"/>
                  </a:lnTo>
                  <a:lnTo>
                    <a:pt x="2200227" y="4282438"/>
                  </a:lnTo>
                  <a:lnTo>
                    <a:pt x="2153985" y="4274755"/>
                  </a:lnTo>
                  <a:lnTo>
                    <a:pt x="2108132" y="4265945"/>
                  </a:lnTo>
                  <a:lnTo>
                    <a:pt x="2062683" y="4256023"/>
                  </a:lnTo>
                  <a:lnTo>
                    <a:pt x="2017652" y="4245004"/>
                  </a:lnTo>
                  <a:lnTo>
                    <a:pt x="1973055" y="4232902"/>
                  </a:lnTo>
                  <a:lnTo>
                    <a:pt x="1928906" y="4219732"/>
                  </a:lnTo>
                  <a:lnTo>
                    <a:pt x="1885220" y="4205509"/>
                  </a:lnTo>
                  <a:lnTo>
                    <a:pt x="1842011" y="4190247"/>
                  </a:lnTo>
                  <a:lnTo>
                    <a:pt x="1799294" y="4173962"/>
                  </a:lnTo>
                  <a:lnTo>
                    <a:pt x="1757084" y="4156667"/>
                  </a:lnTo>
                  <a:lnTo>
                    <a:pt x="1715395" y="4138379"/>
                  </a:lnTo>
                  <a:lnTo>
                    <a:pt x="1674242" y="4119111"/>
                  </a:lnTo>
                  <a:lnTo>
                    <a:pt x="1633641" y="4098878"/>
                  </a:lnTo>
                  <a:lnTo>
                    <a:pt x="1593605" y="4077695"/>
                  </a:lnTo>
                  <a:lnTo>
                    <a:pt x="1554149" y="4055576"/>
                  </a:lnTo>
                  <a:lnTo>
                    <a:pt x="1515288" y="4032537"/>
                  </a:lnTo>
                  <a:lnTo>
                    <a:pt x="1477037" y="4008592"/>
                  </a:lnTo>
                  <a:lnTo>
                    <a:pt x="1439410" y="3983756"/>
                  </a:lnTo>
                  <a:lnTo>
                    <a:pt x="1402422" y="3958043"/>
                  </a:lnTo>
                  <a:lnTo>
                    <a:pt x="1366087" y="3931469"/>
                  </a:lnTo>
                  <a:lnTo>
                    <a:pt x="1330421" y="3904048"/>
                  </a:lnTo>
                  <a:lnTo>
                    <a:pt x="1295438" y="3875794"/>
                  </a:lnTo>
                  <a:lnTo>
                    <a:pt x="1261153" y="3846723"/>
                  </a:lnTo>
                  <a:lnTo>
                    <a:pt x="1227580" y="3816849"/>
                  </a:lnTo>
                  <a:lnTo>
                    <a:pt x="1194734" y="3786187"/>
                  </a:lnTo>
                  <a:lnTo>
                    <a:pt x="1162630" y="3754752"/>
                  </a:lnTo>
                  <a:lnTo>
                    <a:pt x="1131283" y="3722558"/>
                  </a:lnTo>
                  <a:lnTo>
                    <a:pt x="1100707" y="3689620"/>
                  </a:lnTo>
                  <a:lnTo>
                    <a:pt x="1070916" y="3655953"/>
                  </a:lnTo>
                  <a:lnTo>
                    <a:pt x="1041926" y="3621572"/>
                  </a:lnTo>
                  <a:lnTo>
                    <a:pt x="1013752" y="3586490"/>
                  </a:lnTo>
                  <a:lnTo>
                    <a:pt x="986407" y="3550724"/>
                  </a:lnTo>
                  <a:lnTo>
                    <a:pt x="959907" y="3514288"/>
                  </a:lnTo>
                  <a:lnTo>
                    <a:pt x="934266" y="3477196"/>
                  </a:lnTo>
                  <a:lnTo>
                    <a:pt x="909500" y="3439464"/>
                  </a:lnTo>
                  <a:lnTo>
                    <a:pt x="885621" y="3401105"/>
                  </a:lnTo>
                  <a:lnTo>
                    <a:pt x="862647" y="3362135"/>
                  </a:lnTo>
                  <a:lnTo>
                    <a:pt x="840590" y="3322569"/>
                  </a:lnTo>
                  <a:lnTo>
                    <a:pt x="819466" y="3282420"/>
                  </a:lnTo>
                  <a:lnTo>
                    <a:pt x="799290" y="3241705"/>
                  </a:lnTo>
                  <a:lnTo>
                    <a:pt x="780076" y="3200437"/>
                  </a:lnTo>
                  <a:lnTo>
                    <a:pt x="761838" y="3158631"/>
                  </a:lnTo>
                  <a:lnTo>
                    <a:pt x="744592" y="3116303"/>
                  </a:lnTo>
                  <a:lnTo>
                    <a:pt x="728352" y="3073466"/>
                  </a:lnTo>
                  <a:lnTo>
                    <a:pt x="713133" y="3030136"/>
                  </a:lnTo>
                  <a:lnTo>
                    <a:pt x="698950" y="2986327"/>
                  </a:lnTo>
                  <a:lnTo>
                    <a:pt x="685817" y="2942054"/>
                  </a:lnTo>
                  <a:lnTo>
                    <a:pt x="673749" y="2897331"/>
                  </a:lnTo>
                  <a:lnTo>
                    <a:pt x="662760" y="2852174"/>
                  </a:lnTo>
                  <a:lnTo>
                    <a:pt x="652866" y="2806598"/>
                  </a:lnTo>
                  <a:lnTo>
                    <a:pt x="644081" y="2760616"/>
                  </a:lnTo>
                  <a:lnTo>
                    <a:pt x="636419" y="2714244"/>
                  </a:lnTo>
                  <a:lnTo>
                    <a:pt x="629896" y="2667496"/>
                  </a:lnTo>
                  <a:lnTo>
                    <a:pt x="624526" y="2620387"/>
                  </a:lnTo>
                  <a:lnTo>
                    <a:pt x="620324" y="2572932"/>
                  </a:lnTo>
                  <a:lnTo>
                    <a:pt x="617304" y="2525146"/>
                  </a:lnTo>
                  <a:lnTo>
                    <a:pt x="615482" y="2477043"/>
                  </a:lnTo>
                  <a:lnTo>
                    <a:pt x="614871" y="2428638"/>
                  </a:lnTo>
                  <a:lnTo>
                    <a:pt x="615459" y="2398995"/>
                  </a:lnTo>
                  <a:lnTo>
                    <a:pt x="616934" y="2369580"/>
                  </a:lnTo>
                  <a:lnTo>
                    <a:pt x="618864" y="2340282"/>
                  </a:lnTo>
                  <a:lnTo>
                    <a:pt x="620818" y="2310987"/>
                  </a:lnTo>
                  <a:lnTo>
                    <a:pt x="0" y="2310987"/>
                  </a:lnTo>
                  <a:lnTo>
                    <a:pt x="0" y="2423413"/>
                  </a:lnTo>
                  <a:lnTo>
                    <a:pt x="462" y="2471774"/>
                  </a:lnTo>
                  <a:lnTo>
                    <a:pt x="1844" y="2519914"/>
                  </a:lnTo>
                  <a:lnTo>
                    <a:pt x="4137" y="2567825"/>
                  </a:lnTo>
                  <a:lnTo>
                    <a:pt x="7333" y="2615498"/>
                  </a:lnTo>
                  <a:lnTo>
                    <a:pt x="11422" y="2662925"/>
                  </a:lnTo>
                  <a:lnTo>
                    <a:pt x="16398" y="2710098"/>
                  </a:lnTo>
                  <a:lnTo>
                    <a:pt x="22251" y="2757007"/>
                  </a:lnTo>
                  <a:lnTo>
                    <a:pt x="28973" y="2803646"/>
                  </a:lnTo>
                  <a:lnTo>
                    <a:pt x="36555" y="2850004"/>
                  </a:lnTo>
                  <a:lnTo>
                    <a:pt x="44990" y="2896075"/>
                  </a:lnTo>
                  <a:lnTo>
                    <a:pt x="54268" y="2941848"/>
                  </a:lnTo>
                  <a:lnTo>
                    <a:pt x="64382" y="2987317"/>
                  </a:lnTo>
                  <a:lnTo>
                    <a:pt x="75322" y="3032472"/>
                  </a:lnTo>
                  <a:lnTo>
                    <a:pt x="87081" y="3077306"/>
                  </a:lnTo>
                  <a:lnTo>
                    <a:pt x="99650" y="3121809"/>
                  </a:lnTo>
                  <a:lnTo>
                    <a:pt x="113021" y="3165973"/>
                  </a:lnTo>
                  <a:lnTo>
                    <a:pt x="127185" y="3209790"/>
                  </a:lnTo>
                  <a:lnTo>
                    <a:pt x="142133" y="3253252"/>
                  </a:lnTo>
                  <a:lnTo>
                    <a:pt x="157858" y="3296350"/>
                  </a:lnTo>
                  <a:lnTo>
                    <a:pt x="174351" y="3339075"/>
                  </a:lnTo>
                  <a:lnTo>
                    <a:pt x="191604" y="3381420"/>
                  </a:lnTo>
                  <a:lnTo>
                    <a:pt x="209607" y="3423375"/>
                  </a:lnTo>
                  <a:lnTo>
                    <a:pt x="228354" y="3464933"/>
                  </a:lnTo>
                  <a:lnTo>
                    <a:pt x="247835" y="3506085"/>
                  </a:lnTo>
                  <a:lnTo>
                    <a:pt x="268041" y="3546822"/>
                  </a:lnTo>
                  <a:lnTo>
                    <a:pt x="288965" y="3587136"/>
                  </a:lnTo>
                  <a:lnTo>
                    <a:pt x="310599" y="3627019"/>
                  </a:lnTo>
                  <a:lnTo>
                    <a:pt x="332932" y="3666463"/>
                  </a:lnTo>
                  <a:lnTo>
                    <a:pt x="355959" y="3705458"/>
                  </a:lnTo>
                  <a:lnTo>
                    <a:pt x="379668" y="3743996"/>
                  </a:lnTo>
                  <a:lnTo>
                    <a:pt x="404054" y="3782070"/>
                  </a:lnTo>
                  <a:lnTo>
                    <a:pt x="429106" y="3819670"/>
                  </a:lnTo>
                  <a:lnTo>
                    <a:pt x="454817" y="3856789"/>
                  </a:lnTo>
                  <a:lnTo>
                    <a:pt x="481178" y="3893417"/>
                  </a:lnTo>
                  <a:lnTo>
                    <a:pt x="508181" y="3929546"/>
                  </a:lnTo>
                  <a:lnTo>
                    <a:pt x="535817" y="3965169"/>
                  </a:lnTo>
                  <a:lnTo>
                    <a:pt x="564078" y="4000275"/>
                  </a:lnTo>
                  <a:lnTo>
                    <a:pt x="592956" y="4034858"/>
                  </a:lnTo>
                  <a:lnTo>
                    <a:pt x="622441" y="4068909"/>
                  </a:lnTo>
                  <a:lnTo>
                    <a:pt x="652527" y="4102419"/>
                  </a:lnTo>
                  <a:lnTo>
                    <a:pt x="683203" y="4135380"/>
                  </a:lnTo>
                  <a:lnTo>
                    <a:pt x="714463" y="4167783"/>
                  </a:lnTo>
                  <a:lnTo>
                    <a:pt x="746297" y="4199620"/>
                  </a:lnTo>
                  <a:lnTo>
                    <a:pt x="778697" y="4230883"/>
                  </a:lnTo>
                  <a:lnTo>
                    <a:pt x="811654" y="4261562"/>
                  </a:lnTo>
                  <a:lnTo>
                    <a:pt x="845161" y="4291651"/>
                  </a:lnTo>
                  <a:lnTo>
                    <a:pt x="879208" y="4321140"/>
                  </a:lnTo>
                  <a:lnTo>
                    <a:pt x="913788" y="4350021"/>
                  </a:lnTo>
                  <a:lnTo>
                    <a:pt x="948892" y="4378285"/>
                  </a:lnTo>
                  <a:lnTo>
                    <a:pt x="984511" y="4405924"/>
                  </a:lnTo>
                  <a:lnTo>
                    <a:pt x="1020637" y="4432930"/>
                  </a:lnTo>
                  <a:lnTo>
                    <a:pt x="1057262" y="4459294"/>
                  </a:lnTo>
                  <a:lnTo>
                    <a:pt x="1094378" y="4485008"/>
                  </a:lnTo>
                  <a:lnTo>
                    <a:pt x="1131975" y="4510064"/>
                  </a:lnTo>
                  <a:lnTo>
                    <a:pt x="1170046" y="4534452"/>
                  </a:lnTo>
                  <a:lnTo>
                    <a:pt x="1208582" y="4558165"/>
                  </a:lnTo>
                  <a:lnTo>
                    <a:pt x="1247574" y="4581194"/>
                  </a:lnTo>
                  <a:lnTo>
                    <a:pt x="1287014" y="4603531"/>
                  </a:lnTo>
                  <a:lnTo>
                    <a:pt x="1326895" y="4625167"/>
                  </a:lnTo>
                  <a:lnTo>
                    <a:pt x="1367206" y="4646094"/>
                  </a:lnTo>
                  <a:lnTo>
                    <a:pt x="1407941" y="4666303"/>
                  </a:lnTo>
                  <a:lnTo>
                    <a:pt x="1449090" y="4685786"/>
                  </a:lnTo>
                  <a:lnTo>
                    <a:pt x="1490646" y="4704535"/>
                  </a:lnTo>
                  <a:lnTo>
                    <a:pt x="1532599" y="4722542"/>
                  </a:lnTo>
                  <a:lnTo>
                    <a:pt x="1574941" y="4739797"/>
                  </a:lnTo>
                  <a:lnTo>
                    <a:pt x="1617664" y="4756292"/>
                  </a:lnTo>
                  <a:lnTo>
                    <a:pt x="1660760" y="4772019"/>
                  </a:lnTo>
                  <a:lnTo>
                    <a:pt x="1704220" y="4786970"/>
                  </a:lnTo>
                  <a:lnTo>
                    <a:pt x="1748035" y="4801136"/>
                  </a:lnTo>
                  <a:lnTo>
                    <a:pt x="1792198" y="4814508"/>
                  </a:lnTo>
                  <a:lnTo>
                    <a:pt x="1836700" y="4827079"/>
                  </a:lnTo>
                  <a:lnTo>
                    <a:pt x="1881532" y="4838840"/>
                  </a:lnTo>
                  <a:lnTo>
                    <a:pt x="1926685" y="4849782"/>
                  </a:lnTo>
                  <a:lnTo>
                    <a:pt x="1972153" y="4859897"/>
                  </a:lnTo>
                  <a:lnTo>
                    <a:pt x="2017925" y="4869177"/>
                  </a:lnTo>
                  <a:lnTo>
                    <a:pt x="2063995" y="4877613"/>
                  </a:lnTo>
                  <a:lnTo>
                    <a:pt x="2110352" y="4885196"/>
                  </a:lnTo>
                  <a:lnTo>
                    <a:pt x="2156990" y="4891919"/>
                  </a:lnTo>
                  <a:lnTo>
                    <a:pt x="2203899" y="4897773"/>
                  </a:lnTo>
                  <a:lnTo>
                    <a:pt x="2251071" y="4902750"/>
                  </a:lnTo>
                  <a:lnTo>
                    <a:pt x="2298498" y="4906840"/>
                  </a:lnTo>
                  <a:lnTo>
                    <a:pt x="2346171" y="4910036"/>
                  </a:lnTo>
                  <a:lnTo>
                    <a:pt x="2394082" y="4912330"/>
                  </a:lnTo>
                  <a:lnTo>
                    <a:pt x="2442222" y="4913712"/>
                  </a:lnTo>
                  <a:lnTo>
                    <a:pt x="2490583" y="4914174"/>
                  </a:lnTo>
                  <a:lnTo>
                    <a:pt x="2538952" y="4913712"/>
                  </a:lnTo>
                  <a:lnTo>
                    <a:pt x="2587100" y="4912330"/>
                  </a:lnTo>
                  <a:lnTo>
                    <a:pt x="2635018" y="4910036"/>
                  </a:lnTo>
                  <a:lnTo>
                    <a:pt x="2682698" y="4906840"/>
                  </a:lnTo>
                  <a:lnTo>
                    <a:pt x="2730132" y="4902750"/>
                  </a:lnTo>
                  <a:lnTo>
                    <a:pt x="2777311" y="4897773"/>
                  </a:lnTo>
                  <a:lnTo>
                    <a:pt x="2824227" y="4891919"/>
                  </a:lnTo>
                  <a:lnTo>
                    <a:pt x="2870871" y="4885196"/>
                  </a:lnTo>
                  <a:lnTo>
                    <a:pt x="2917235" y="4877613"/>
                  </a:lnTo>
                  <a:lnTo>
                    <a:pt x="2963310" y="4869177"/>
                  </a:lnTo>
                  <a:lnTo>
                    <a:pt x="3009089" y="4859897"/>
                  </a:lnTo>
                  <a:lnTo>
                    <a:pt x="3054562" y="4849782"/>
                  </a:lnTo>
                  <a:lnTo>
                    <a:pt x="3099721" y="4838840"/>
                  </a:lnTo>
                  <a:lnTo>
                    <a:pt x="3144559" y="4827079"/>
                  </a:lnTo>
                  <a:lnTo>
                    <a:pt x="3189066" y="4814508"/>
                  </a:lnTo>
                  <a:lnTo>
                    <a:pt x="3233233" y="4801136"/>
                  </a:lnTo>
                  <a:lnTo>
                    <a:pt x="3277054" y="4786970"/>
                  </a:lnTo>
                  <a:lnTo>
                    <a:pt x="3320519" y="4772019"/>
                  </a:lnTo>
                  <a:lnTo>
                    <a:pt x="3363619" y="4756292"/>
                  </a:lnTo>
                  <a:lnTo>
                    <a:pt x="3406347" y="4739797"/>
                  </a:lnTo>
                  <a:lnTo>
                    <a:pt x="3448694" y="4722542"/>
                  </a:lnTo>
                  <a:lnTo>
                    <a:pt x="3490651" y="4704535"/>
                  </a:lnTo>
                  <a:lnTo>
                    <a:pt x="3532211" y="4685786"/>
                  </a:lnTo>
                  <a:lnTo>
                    <a:pt x="3573364" y="4666303"/>
                  </a:lnTo>
                  <a:lnTo>
                    <a:pt x="3614103" y="4646094"/>
                  </a:lnTo>
                  <a:lnTo>
                    <a:pt x="3654418" y="4625167"/>
                  </a:lnTo>
                  <a:lnTo>
                    <a:pt x="3694302" y="4603531"/>
                  </a:lnTo>
                  <a:lnTo>
                    <a:pt x="3733746" y="4581194"/>
                  </a:lnTo>
                  <a:lnTo>
                    <a:pt x="3772742" y="4558165"/>
                  </a:lnTo>
                  <a:lnTo>
                    <a:pt x="3811281" y="4534452"/>
                  </a:lnTo>
                  <a:lnTo>
                    <a:pt x="3849355" y="4510064"/>
                  </a:lnTo>
                  <a:lnTo>
                    <a:pt x="3886955" y="4485008"/>
                  </a:lnTo>
                  <a:lnTo>
                    <a:pt x="3924074" y="4459294"/>
                  </a:lnTo>
                  <a:lnTo>
                    <a:pt x="3960702" y="4432930"/>
                  </a:lnTo>
                  <a:lnTo>
                    <a:pt x="3996831" y="4405924"/>
                  </a:lnTo>
                  <a:lnTo>
                    <a:pt x="4032453" y="4378285"/>
                  </a:lnTo>
                  <a:lnTo>
                    <a:pt x="4067559" y="4350021"/>
                  </a:lnTo>
                  <a:lnTo>
                    <a:pt x="4102141" y="4321140"/>
                  </a:lnTo>
                  <a:lnTo>
                    <a:pt x="4136191" y="4291651"/>
                  </a:lnTo>
                  <a:lnTo>
                    <a:pt x="4169700" y="4261562"/>
                  </a:lnTo>
                  <a:lnTo>
                    <a:pt x="4202660" y="4230883"/>
                  </a:lnTo>
                  <a:lnTo>
                    <a:pt x="4235061" y="4199620"/>
                  </a:lnTo>
                  <a:lnTo>
                    <a:pt x="4266897" y="4167783"/>
                  </a:lnTo>
                  <a:lnTo>
                    <a:pt x="4298159" y="4135380"/>
                  </a:lnTo>
                  <a:lnTo>
                    <a:pt x="4328837" y="4102419"/>
                  </a:lnTo>
                  <a:lnTo>
                    <a:pt x="4358924" y="4068909"/>
                  </a:lnTo>
                  <a:lnTo>
                    <a:pt x="4388411" y="4034858"/>
                  </a:lnTo>
                  <a:lnTo>
                    <a:pt x="4417290" y="4000275"/>
                  </a:lnTo>
                  <a:lnTo>
                    <a:pt x="4445553" y="3965169"/>
                  </a:lnTo>
                  <a:lnTo>
                    <a:pt x="4473190" y="3929546"/>
                  </a:lnTo>
                  <a:lnTo>
                    <a:pt x="4500194" y="3893417"/>
                  </a:lnTo>
                  <a:lnTo>
                    <a:pt x="4526557" y="3856789"/>
                  </a:lnTo>
                  <a:lnTo>
                    <a:pt x="4552269" y="3819670"/>
                  </a:lnTo>
                  <a:lnTo>
                    <a:pt x="4577322" y="3782070"/>
                  </a:lnTo>
                  <a:lnTo>
                    <a:pt x="4601708" y="3743996"/>
                  </a:lnTo>
                  <a:lnTo>
                    <a:pt x="4625419" y="3705458"/>
                  </a:lnTo>
                  <a:lnTo>
                    <a:pt x="4648446" y="3666463"/>
                  </a:lnTo>
                  <a:lnTo>
                    <a:pt x="4670781" y="3627019"/>
                  </a:lnTo>
                  <a:lnTo>
                    <a:pt x="4692415" y="3587136"/>
                  </a:lnTo>
                  <a:lnTo>
                    <a:pt x="4713340" y="3546822"/>
                  </a:lnTo>
                  <a:lnTo>
                    <a:pt x="4733547" y="3506085"/>
                  </a:lnTo>
                  <a:lnTo>
                    <a:pt x="4753028" y="3464933"/>
                  </a:lnTo>
                  <a:lnTo>
                    <a:pt x="4771775" y="3423375"/>
                  </a:lnTo>
                  <a:lnTo>
                    <a:pt x="4789780" y="3381420"/>
                  </a:lnTo>
                  <a:lnTo>
                    <a:pt x="4807033" y="3339075"/>
                  </a:lnTo>
                  <a:lnTo>
                    <a:pt x="4823526" y="3296350"/>
                  </a:lnTo>
                  <a:lnTo>
                    <a:pt x="4839251" y="3253252"/>
                  </a:lnTo>
                  <a:lnTo>
                    <a:pt x="4854200" y="3209790"/>
                  </a:lnTo>
                  <a:lnTo>
                    <a:pt x="4868364" y="3165973"/>
                  </a:lnTo>
                  <a:lnTo>
                    <a:pt x="4881735" y="3121809"/>
                  </a:lnTo>
                  <a:lnTo>
                    <a:pt x="4894304" y="3077306"/>
                  </a:lnTo>
                  <a:lnTo>
                    <a:pt x="4906064" y="3032472"/>
                  </a:lnTo>
                  <a:lnTo>
                    <a:pt x="4917004" y="2987317"/>
                  </a:lnTo>
                  <a:lnTo>
                    <a:pt x="4927118" y="2941848"/>
                  </a:lnTo>
                  <a:lnTo>
                    <a:pt x="4936396" y="2896075"/>
                  </a:lnTo>
                  <a:lnTo>
                    <a:pt x="4944831" y="2850004"/>
                  </a:lnTo>
                  <a:lnTo>
                    <a:pt x="4952414" y="2803646"/>
                  </a:lnTo>
                  <a:lnTo>
                    <a:pt x="4959135" y="2757007"/>
                  </a:lnTo>
                  <a:lnTo>
                    <a:pt x="4964989" y="2710098"/>
                  </a:lnTo>
                  <a:lnTo>
                    <a:pt x="4969964" y="2662925"/>
                  </a:lnTo>
                  <a:lnTo>
                    <a:pt x="4974054" y="2615498"/>
                  </a:lnTo>
                  <a:lnTo>
                    <a:pt x="4977250" y="2567825"/>
                  </a:lnTo>
                  <a:lnTo>
                    <a:pt x="4979543" y="2519914"/>
                  </a:lnTo>
                  <a:lnTo>
                    <a:pt x="4980925" y="2471774"/>
                  </a:lnTo>
                  <a:lnTo>
                    <a:pt x="4981387" y="2423413"/>
                  </a:lnTo>
                  <a:close/>
                </a:path>
              </a:pathLst>
            </a:custGeom>
            <a:ln w="46878">
              <a:solidFill>
                <a:srgbClr val="FFFFFF"/>
              </a:solidFill>
            </a:ln>
          </p:spPr>
          <p:txBody>
            <a:bodyPr wrap="square" lIns="0" tIns="0" rIns="0" bIns="0" rtlCol="0"/>
            <a:lstStyle/>
            <a:p>
              <a:endParaRPr lang="en-US" sz="960" dirty="0"/>
            </a:p>
          </p:txBody>
        </p:sp>
        <p:sp>
          <p:nvSpPr>
            <p:cNvPr id="6" name="object 6"/>
            <p:cNvSpPr/>
            <p:nvPr/>
          </p:nvSpPr>
          <p:spPr>
            <a:xfrm>
              <a:off x="2065750" y="1994167"/>
              <a:ext cx="630555" cy="3968750"/>
            </a:xfrm>
            <a:custGeom>
              <a:avLst/>
              <a:gdLst/>
              <a:ahLst/>
              <a:cxnLst/>
              <a:rect l="l" t="t" r="r" b="b"/>
              <a:pathLst>
                <a:path w="630555" h="3968750">
                  <a:moveTo>
                    <a:pt x="630242" y="3634884"/>
                  </a:moveTo>
                  <a:lnTo>
                    <a:pt x="630242" y="3624989"/>
                  </a:lnTo>
                  <a:lnTo>
                    <a:pt x="630106" y="3625104"/>
                  </a:lnTo>
                  <a:lnTo>
                    <a:pt x="629855" y="3625334"/>
                  </a:lnTo>
                  <a:lnTo>
                    <a:pt x="629855" y="0"/>
                  </a:lnTo>
                  <a:lnTo>
                    <a:pt x="2565" y="0"/>
                  </a:lnTo>
                  <a:lnTo>
                    <a:pt x="0" y="2250601"/>
                  </a:lnTo>
                  <a:lnTo>
                    <a:pt x="0" y="3968633"/>
                  </a:lnTo>
                  <a:lnTo>
                    <a:pt x="49735" y="3952837"/>
                  </a:lnTo>
                  <a:lnTo>
                    <a:pt x="98845" y="3935736"/>
                  </a:lnTo>
                  <a:lnTo>
                    <a:pt x="147304" y="3917346"/>
                  </a:lnTo>
                  <a:lnTo>
                    <a:pt x="195086" y="3897684"/>
                  </a:lnTo>
                  <a:lnTo>
                    <a:pt x="242168" y="3876768"/>
                  </a:lnTo>
                  <a:lnTo>
                    <a:pt x="288524" y="3854613"/>
                  </a:lnTo>
                  <a:lnTo>
                    <a:pt x="334129" y="3831239"/>
                  </a:lnTo>
                  <a:lnTo>
                    <a:pt x="378959" y="3806661"/>
                  </a:lnTo>
                  <a:lnTo>
                    <a:pt x="422987" y="3780897"/>
                  </a:lnTo>
                  <a:lnTo>
                    <a:pt x="466190" y="3753964"/>
                  </a:lnTo>
                  <a:lnTo>
                    <a:pt x="508541" y="3725879"/>
                  </a:lnTo>
                  <a:lnTo>
                    <a:pt x="550017" y="3696659"/>
                  </a:lnTo>
                  <a:lnTo>
                    <a:pt x="590593" y="3666322"/>
                  </a:lnTo>
                  <a:lnTo>
                    <a:pt x="630242" y="3634884"/>
                  </a:lnTo>
                  <a:close/>
                </a:path>
              </a:pathLst>
            </a:custGeom>
            <a:ln w="46878">
              <a:solidFill>
                <a:srgbClr val="FFFFFF"/>
              </a:solidFill>
            </a:ln>
          </p:spPr>
          <p:txBody>
            <a:bodyPr wrap="square" lIns="0" tIns="0" rIns="0" bIns="0" rtlCol="0"/>
            <a:lstStyle/>
            <a:p>
              <a:endParaRPr lang="en-US" sz="960" dirty="0"/>
            </a:p>
          </p:txBody>
        </p:sp>
        <p:sp>
          <p:nvSpPr>
            <p:cNvPr id="7" name="object 7"/>
            <p:cNvSpPr/>
            <p:nvPr/>
          </p:nvSpPr>
          <p:spPr>
            <a:xfrm>
              <a:off x="4264152" y="3362578"/>
              <a:ext cx="4406900" cy="677545"/>
            </a:xfrm>
            <a:custGeom>
              <a:avLst/>
              <a:gdLst/>
              <a:ahLst/>
              <a:cxnLst/>
              <a:rect l="l" t="t" r="r" b="b"/>
              <a:pathLst>
                <a:path w="4406900" h="677545">
                  <a:moveTo>
                    <a:pt x="4406829" y="0"/>
                  </a:moveTo>
                  <a:lnTo>
                    <a:pt x="0" y="0"/>
                  </a:lnTo>
                  <a:lnTo>
                    <a:pt x="0" y="677036"/>
                  </a:lnTo>
                  <a:lnTo>
                    <a:pt x="4406829" y="677036"/>
                  </a:lnTo>
                  <a:lnTo>
                    <a:pt x="4406829" y="0"/>
                  </a:lnTo>
                  <a:close/>
                </a:path>
              </a:pathLst>
            </a:custGeom>
            <a:ln w="46878">
              <a:solidFill>
                <a:srgbClr val="FFFFFF"/>
              </a:solidFill>
            </a:ln>
          </p:spPr>
          <p:txBody>
            <a:bodyPr wrap="square" lIns="0" tIns="0" rIns="0" bIns="0" rtlCol="0"/>
            <a:lstStyle/>
            <a:p>
              <a:endParaRPr lang="en-US" sz="960" dirty="0"/>
            </a:p>
          </p:txBody>
        </p:sp>
      </p:grpSp>
      <p:sp>
        <p:nvSpPr>
          <p:cNvPr id="9" name="Slide Number Placeholder 8">
            <a:extLst>
              <a:ext uri="{FF2B5EF4-FFF2-40B4-BE49-F238E27FC236}">
                <a16:creationId xmlns:a16="http://schemas.microsoft.com/office/drawing/2014/main" id="{C1CC2EBE-4F12-3979-02A7-B0B18F89C8B7}"/>
              </a:ext>
            </a:extLst>
          </p:cNvPr>
          <p:cNvSpPr>
            <a:spLocks noGrp="1"/>
          </p:cNvSpPr>
          <p:nvPr>
            <p:ph type="sldNum" sz="quarter" idx="7"/>
          </p:nvPr>
        </p:nvSpPr>
        <p:spPr/>
        <p:txBody>
          <a:bodyPr/>
          <a:lstStyle/>
          <a:p>
            <a:pPr marL="20330">
              <a:spcBef>
                <a:spcPts val="45"/>
              </a:spcBef>
            </a:pPr>
            <a:fld id="{81D60167-4931-47E6-BA6A-407CBD079E47}" type="slidenum">
              <a:rPr lang="en-US" spc="8"/>
              <a:pPr marL="20330">
                <a:spcBef>
                  <a:spcPts val="45"/>
                </a:spcBef>
              </a:pPr>
              <a:t>7</a:t>
            </a:fld>
            <a:endParaRPr lang="en-US" spc="8"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XOyf_iJ24A_C2Sx961G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z_Y8kw3x3B6r8gkSaIb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7lxKMOJ1wtFMeFRnzLv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PwrEySEBWj6C0CuxnDf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7upIc_MXpYe8QOypIyi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ry1DL6pfKEB9K0nH6ZO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X7uFR80CstjuQYfAg0z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_hrUw3Dv3sLiBMfqZ4N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aOgIF5mUuahoaZWxQre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Kmu704aFD_crIejrMK5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56EMdDkQ8r9PBMQ7zE0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tEjQWqc3U7eK1hJP2PA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wfHYFU4jm4XdSX.cWUv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_xgdKwMwpbzHMPesstT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riyp.ucMJhMYeZlMqzL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UW2_bAARETmMYgfloxA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XDqTirL0tLVvNZjuIMI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OpBvfvsk7fiAKxuscKS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DXrLYJ_O379VYmA9Id0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WHcJtyyVuzsPTnEaiU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Wk9697bNP26c5Ri0qti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YmqyI1XvxRk2R9idp6Y6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qOigA2mQt_oLlBP7keU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8X0EtXaPrRw4PSQthZ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hRnspwS1ji95DD5.dIQ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u3DuME_OUrMxbKT9MAo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nqjRcMwnUvEIT4GhNns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fYsaikZ2UQZ0gCrQgcC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oFlYjbs0J4L07eNOvUd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kVcAT9YXcCh9yWpeI.2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f0SVZk7VdYMyn_skkT8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_KC1SSz2oQ2t0SNEFOu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kjiZUgoqQGyme02Ouvr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AkYjqqpK07UORmOas_A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1LyxFs7WtjsAqtbJtOs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tl6YUJwjKIxJUsZeqrk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1r9JH18A5ejgHMjRZp8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C2GVLRCpkl8xAxvFIbb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Hgxjm5faBpTyI_arAQ0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fk1SDhe9I4F2dh5vld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yMZLzsYuHYlJhSfk6j63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Ql.P3z5Hlpv1..98QL.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UDa9t9dMo7B9voEdOte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k8RuXv_KbzzELhIoiDL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LmornI0yOven08MB3Wi3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ieGzFYg8jcWUf4CKjxq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3R0YuNdF7Yx_ZdRMvrN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o.sE3nJSrhnP0hihM4n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JIvdT2xtVK3s6015R_4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5etCG7VuOulEyA4.AuU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PEqRXs3VHQgKMBE9T86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O0mHvU5snejwRM3mdAlB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WGrzwtt9jtKzI7Yvxqd7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L_9J4gQbKLX4MxBo4Wf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xIR1m8ZDioeJGIM0quN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rftPFp1E9aufQyUzFv_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w36S7Ti1qvCTEaZOwTD2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tCx8h25Zoc4IGD1Lo4S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FZfTDntjUw7hDVb7ic6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T3Z6HWhO8uRUbtplr_e2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nRDlR0zFG._IgpgcNpf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DFTo2npaF7zpC27NEHE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SVzVt2zMydFuzOgOxwE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4NJCOWBHFbYm.5MAQs4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0qr3MDKnlVWxe90YFJc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7VrIo.YQZUnk116iNrn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RoYQRAKITAzu.4a4d3yr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7fEDJjB9t0uf_odfJen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OjrzRGxPZZKLlpQrCwC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w8qs8cMs2S7GwxUzlQW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aNunMi_R1HHsbWCcoQH0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RacZ81Z8VTxmrBUvjZ59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tK9o7mCnNmWbtA8aZ3F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u_5NXkmSEan9CU7Nu17N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tlmotVBUVivhfq.GUOJ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GLUp5XCYTTY.poovqOZ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GdhfFXxbGBIeQbMQ2V0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UQmlptUpw0_w7YXDl9Z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cfmjiisBCVYgQ66i4kH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dLwIJ4OCgqHwvuMIbEDZ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K8TW87hPp518bblbqt.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YfYaRxcnjsQ8MA3tMsl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HFcRzD4DxG7PLWoF9Ra4A"/>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693</Words>
  <Application>Microsoft Office PowerPoint</Application>
  <PresentationFormat>Widescreen</PresentationFormat>
  <Paragraphs>131</Paragraphs>
  <Slides>7</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8" baseType="lpstr">
      <vt:lpstr>Aptos</vt:lpstr>
      <vt:lpstr>Aptos Display</vt:lpstr>
      <vt:lpstr>Arial</vt:lpstr>
      <vt:lpstr>fkGroteskNeue</vt:lpstr>
      <vt:lpstr>HelveticaNeue-Light</vt:lpstr>
      <vt:lpstr>Open Sans</vt:lpstr>
      <vt:lpstr>Open Sans ExtraBold</vt:lpstr>
      <vt:lpstr>Open Sans ExtraBold</vt:lpstr>
      <vt:lpstr>Wingdings</vt:lpstr>
      <vt:lpstr>Office</vt:lpstr>
      <vt:lpstr>think-cell Slide</vt:lpstr>
      <vt:lpstr>JuWiLi II TF Behavioral Economics  Research overview for the public event on 28 November 2025 by   Markus Brückner (Bundesnotarkammer, DE) Axel Sonntag (Accenture, AT)</vt:lpstr>
      <vt:lpstr>PowerPoint Presentation</vt:lpstr>
      <vt:lpstr>PowerPoint Presentation</vt:lpstr>
      <vt:lpstr>PowerPoint Presentation</vt:lpstr>
      <vt:lpstr>PowerPoint Presentation</vt:lpstr>
      <vt:lpstr>PowerPoint Presentation</vt:lpstr>
      <vt:lpstr>PowerPoint Presentation</vt:lpstr>
    </vt:vector>
  </TitlesOfParts>
  <Company>Bundesnotarkamm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rückner, Markus (BNotK)</dc:creator>
  <cp:lastModifiedBy>Axel Sonntag</cp:lastModifiedBy>
  <cp:revision>7</cp:revision>
  <cp:lastPrinted>2025-11-25T19:20:24Z</cp:lastPrinted>
  <dcterms:created xsi:type="dcterms:W3CDTF">2025-11-25T09:39:40Z</dcterms:created>
  <dcterms:modified xsi:type="dcterms:W3CDTF">2025-11-27T10:30:05Z</dcterms:modified>
</cp:coreProperties>
</file>